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38"/>
  </p:notesMasterIdLst>
  <p:sldIdLst>
    <p:sldId id="263" r:id="rId2"/>
    <p:sldId id="257" r:id="rId3"/>
    <p:sldId id="260" r:id="rId4"/>
    <p:sldId id="264" r:id="rId5"/>
    <p:sldId id="265" r:id="rId6"/>
    <p:sldId id="266" r:id="rId7"/>
    <p:sldId id="268" r:id="rId8"/>
    <p:sldId id="269" r:id="rId9"/>
    <p:sldId id="270" r:id="rId10"/>
    <p:sldId id="271" r:id="rId11"/>
    <p:sldId id="272" r:id="rId12"/>
    <p:sldId id="273" r:id="rId13"/>
    <p:sldId id="274" r:id="rId14"/>
    <p:sldId id="275" r:id="rId15"/>
    <p:sldId id="276" r:id="rId16"/>
    <p:sldId id="277" r:id="rId17"/>
    <p:sldId id="278" r:id="rId18"/>
    <p:sldId id="279" r:id="rId19"/>
    <p:sldId id="280" r:id="rId20"/>
    <p:sldId id="281" r:id="rId21"/>
    <p:sldId id="282" r:id="rId22"/>
    <p:sldId id="283" r:id="rId23"/>
    <p:sldId id="284" r:id="rId24"/>
    <p:sldId id="285" r:id="rId25"/>
    <p:sldId id="286" r:id="rId26"/>
    <p:sldId id="289" r:id="rId27"/>
    <p:sldId id="287" r:id="rId28"/>
    <p:sldId id="288" r:id="rId29"/>
    <p:sldId id="290" r:id="rId30"/>
    <p:sldId id="292" r:id="rId31"/>
    <p:sldId id="291" r:id="rId32"/>
    <p:sldId id="293" r:id="rId33"/>
    <p:sldId id="294" r:id="rId34"/>
    <p:sldId id="295" r:id="rId35"/>
    <p:sldId id="297" r:id="rId36"/>
    <p:sldId id="298" r:id="rId37"/>
  </p:sldIdLst>
  <p:sldSz cx="9144000" cy="6858000" type="screen4x3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W2145" initials="S" lastIdx="1" clrIdx="0">
    <p:extLst>
      <p:ext uri="{19B8F6BF-5375-455C-9EA6-DF929625EA0E}">
        <p15:presenceInfo xmlns:p15="http://schemas.microsoft.com/office/powerpoint/2012/main" userId="7627e29f7b25243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0A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9496" autoAdjust="0"/>
  </p:normalViewPr>
  <p:slideViewPr>
    <p:cSldViewPr>
      <p:cViewPr varScale="1">
        <p:scale>
          <a:sx n="85" d="100"/>
          <a:sy n="85" d="100"/>
        </p:scale>
        <p:origin x="1378" y="58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463F9F-F687-48FC-BDE1-91E2C3D88C4D}" type="datetimeFigureOut">
              <a:rPr lang="ko-KR" altLang="en-US" smtClean="0"/>
              <a:t>2022-06-02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499573-C1F2-4489-886D-477DA2430D7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451714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/>
          <p:cNvSpPr/>
          <p:nvPr userDrawn="1"/>
        </p:nvSpPr>
        <p:spPr>
          <a:xfrm>
            <a:off x="962075" y="2228276"/>
            <a:ext cx="8176914" cy="22088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aphicFrame>
        <p:nvGraphicFramePr>
          <p:cNvPr id="10" name="표 9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497402912"/>
              </p:ext>
            </p:extLst>
          </p:nvPr>
        </p:nvGraphicFramePr>
        <p:xfrm>
          <a:off x="291951" y="879732"/>
          <a:ext cx="674260" cy="6776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42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77607"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84406" marR="844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BlToT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7" name="텍스트 개체 틀 12"/>
          <p:cNvSpPr>
            <a:spLocks noGrp="1"/>
          </p:cNvSpPr>
          <p:nvPr>
            <p:ph type="body" sz="quarter" idx="14" hasCustomPrompt="1"/>
          </p:nvPr>
        </p:nvSpPr>
        <p:spPr>
          <a:xfrm>
            <a:off x="1347167" y="3641669"/>
            <a:ext cx="7560314" cy="52048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/>
            </a:lvl1pPr>
            <a:lvl2pPr marL="422041" indent="0">
              <a:buNone/>
              <a:defRPr/>
            </a:lvl2pPr>
            <a:lvl3pPr marL="844083" indent="0">
              <a:buNone/>
              <a:defRPr/>
            </a:lvl3pPr>
            <a:lvl4pPr marL="1266124" indent="0">
              <a:buNone/>
              <a:defRPr/>
            </a:lvl4pPr>
            <a:lvl5pPr marL="1688165" indent="0">
              <a:buNone/>
              <a:defRPr/>
            </a:lvl5pPr>
          </a:lstStyle>
          <a:p>
            <a:pPr lvl="0"/>
            <a:r>
              <a:rPr lang="ko-KR" altLang="en-US" dirty="0"/>
              <a:t>문서제목을 입력하십시오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6684505" y="481568"/>
            <a:ext cx="80021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00" b="1" dirty="0">
                <a:latin typeface="+mn-ea"/>
                <a:ea typeface="+mn-ea"/>
              </a:rPr>
              <a:t>문서번호 </a:t>
            </a:r>
            <a:r>
              <a:rPr lang="en-US" altLang="ko-KR" sz="1100" b="1" dirty="0">
                <a:latin typeface="+mn-ea"/>
                <a:ea typeface="+mn-ea"/>
              </a:rPr>
              <a:t>:</a:t>
            </a:r>
            <a:endParaRPr lang="ko-KR" altLang="en-US" sz="1100" b="1" dirty="0">
              <a:latin typeface="+mn-ea"/>
              <a:ea typeface="+mn-ea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684505" y="725100"/>
            <a:ext cx="80021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00" b="1" dirty="0">
                <a:latin typeface="+mn-ea"/>
                <a:ea typeface="+mn-ea"/>
              </a:rPr>
              <a:t>개정번호 </a:t>
            </a:r>
            <a:r>
              <a:rPr lang="en-US" altLang="ko-KR" sz="1100" b="1" dirty="0">
                <a:latin typeface="+mn-ea"/>
                <a:ea typeface="+mn-ea"/>
              </a:rPr>
              <a:t>:</a:t>
            </a:r>
            <a:endParaRPr lang="ko-KR" altLang="en-US" sz="1100" b="1" dirty="0">
              <a:latin typeface="+mn-ea"/>
              <a:ea typeface="+mn-ea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7363337" y="483131"/>
            <a:ext cx="11560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00" b="1">
                <a:latin typeface="+mn-ea"/>
                <a:ea typeface="+mn-ea"/>
              </a:rPr>
              <a:t>주관기업에 따름</a:t>
            </a:r>
            <a:endParaRPr lang="ko-KR" altLang="en-US" sz="1100" b="1" dirty="0">
              <a:latin typeface="+mn-ea"/>
              <a:ea typeface="+mn-ea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7349147" y="725100"/>
            <a:ext cx="59503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1100" b="1" dirty="0">
                <a:latin typeface="+mn-ea"/>
                <a:ea typeface="+mn-ea"/>
              </a:rPr>
              <a:t>REV.A</a:t>
            </a:r>
            <a:endParaRPr lang="ko-KR" altLang="en-US" sz="1100" b="1" dirty="0">
              <a:latin typeface="+mn-ea"/>
              <a:ea typeface="+mn-ea"/>
            </a:endParaRP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5" hasCustomPrompt="1"/>
          </p:nvPr>
        </p:nvSpPr>
        <p:spPr>
          <a:xfrm>
            <a:off x="4448895" y="2852744"/>
            <a:ext cx="4464496" cy="288305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400" baseline="0"/>
            </a:lvl1pPr>
          </a:lstStyle>
          <a:p>
            <a:pPr lvl="0" algn="r"/>
            <a:r>
              <a:rPr lang="en-US" altLang="ko-KR" sz="1400" b="0" dirty="0"/>
              <a:t>NIPA </a:t>
            </a:r>
            <a:r>
              <a:rPr lang="ko-KR" altLang="en-US" sz="1400" b="0"/>
              <a:t>지역</a:t>
            </a:r>
            <a:r>
              <a:rPr lang="en-US" altLang="ko-KR" sz="1400" b="0" dirty="0"/>
              <a:t>SW</a:t>
            </a:r>
            <a:r>
              <a:rPr lang="ko-KR" altLang="en-US" sz="1400" b="0"/>
              <a:t>융합사업</a:t>
            </a:r>
            <a:endParaRPr lang="ko-KR" altLang="en-US" sz="1400" b="0" dirty="0"/>
          </a:p>
        </p:txBody>
      </p:sp>
      <p:sp>
        <p:nvSpPr>
          <p:cNvPr id="22" name="텍스트 개체 틀 21"/>
          <p:cNvSpPr>
            <a:spLocks noGrp="1"/>
          </p:cNvSpPr>
          <p:nvPr>
            <p:ph type="body" sz="quarter" idx="16" hasCustomPrompt="1"/>
          </p:nvPr>
        </p:nvSpPr>
        <p:spPr>
          <a:xfrm>
            <a:off x="1331640" y="3202979"/>
            <a:ext cx="7574558" cy="3708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800"/>
            </a:lvl1pPr>
          </a:lstStyle>
          <a:p>
            <a:pPr lvl="0"/>
            <a:r>
              <a:rPr lang="ko-KR" altLang="en-US" dirty="0" err="1"/>
              <a:t>과제명</a:t>
            </a:r>
            <a:r>
              <a:rPr lang="ko-KR" altLang="en-US" dirty="0"/>
              <a:t> 입력하세요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7" hasCustomPrompt="1"/>
          </p:nvPr>
        </p:nvSpPr>
        <p:spPr>
          <a:xfrm>
            <a:off x="5502101" y="2520950"/>
            <a:ext cx="3397250" cy="288925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/>
            </a:lvl1pPr>
          </a:lstStyle>
          <a:p>
            <a:pPr lvl="0"/>
            <a:r>
              <a:rPr lang="ko-KR" altLang="en-US" dirty="0"/>
              <a:t>㈜기업명을 입력하세요</a:t>
            </a:r>
          </a:p>
        </p:txBody>
      </p:sp>
    </p:spTree>
    <p:extLst>
      <p:ext uri="{BB962C8B-B14F-4D97-AF65-F5344CB8AC3E}">
        <p14:creationId xmlns:p14="http://schemas.microsoft.com/office/powerpoint/2010/main" val="34287931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pos="3120">
          <p15:clr>
            <a:srgbClr val="FBAE40"/>
          </p15:clr>
        </p15:guide>
        <p15:guide id="3" pos="172">
          <p15:clr>
            <a:srgbClr val="FBAE40"/>
          </p15:clr>
        </p15:guide>
        <p15:guide id="4" pos="5760" userDrawn="1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 pos="98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 userDrawn="1"/>
        </p:nvSpPr>
        <p:spPr>
          <a:xfrm>
            <a:off x="2236680" y="44624"/>
            <a:ext cx="1296000" cy="451850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/>
          <a:p>
            <a:pPr mar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en-US" altLang="ko-KR" sz="1000" b="1" i="1">
              <a:ea typeface="나눔고딕 ExtraBold" pitchFamily="50" charset="-127"/>
            </a:endParaRPr>
          </a:p>
        </p:txBody>
      </p:sp>
      <p:sp>
        <p:nvSpPr>
          <p:cNvPr id="6" name="직사각형 5"/>
          <p:cNvSpPr/>
          <p:nvPr userDrawn="1"/>
        </p:nvSpPr>
        <p:spPr>
          <a:xfrm>
            <a:off x="3616217" y="44624"/>
            <a:ext cx="1197597" cy="451850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/>
          <a:p>
            <a:pPr mar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ko-KR" altLang="en-US" sz="1000" i="1">
              <a:ea typeface="나눔고딕 ExtraBold" pitchFamily="50" charset="-127"/>
            </a:endParaRPr>
          </a:p>
        </p:txBody>
      </p:sp>
      <p:sp>
        <p:nvSpPr>
          <p:cNvPr id="31" name="텍스트 개체 틀 30"/>
          <p:cNvSpPr>
            <a:spLocks noGrp="1"/>
          </p:cNvSpPr>
          <p:nvPr>
            <p:ph type="body" sz="quarter" idx="17"/>
          </p:nvPr>
        </p:nvSpPr>
        <p:spPr>
          <a:xfrm>
            <a:off x="402" y="0"/>
            <a:ext cx="2843406" cy="65800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None/>
              <a:defRPr lang="ko-KR" altLang="en-US" sz="1600" b="1" dirty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marL="0" lvl="0"/>
            <a:endParaRPr lang="en-US" altLang="ko-KR" dirty="0"/>
          </a:p>
          <a:p>
            <a:pPr marL="0" lvl="0"/>
            <a:endParaRPr lang="en-US" altLang="ko-KR" dirty="0"/>
          </a:p>
          <a:p>
            <a:pPr marL="0" lvl="0"/>
            <a:endParaRPr lang="en-US" altLang="ko-KR" dirty="0"/>
          </a:p>
          <a:p>
            <a:pPr marL="0" lvl="0"/>
            <a:r>
              <a:rPr lang="en-US" altLang="ko-KR" dirty="0"/>
              <a:t>1</a:t>
            </a:r>
          </a:p>
          <a:p>
            <a:pPr marL="0" lvl="0"/>
            <a:r>
              <a:rPr lang="en-US" altLang="ko-KR" dirty="0"/>
              <a:t>2</a:t>
            </a:r>
          </a:p>
          <a:p>
            <a:pPr marL="0" lvl="0"/>
            <a:r>
              <a:rPr lang="en-US" altLang="ko-KR" dirty="0"/>
              <a:t>3</a:t>
            </a:r>
          </a:p>
          <a:p>
            <a:pPr marL="0" lvl="0"/>
            <a:r>
              <a:rPr lang="en-US" altLang="ko-KR" dirty="0"/>
              <a:t>4</a:t>
            </a:r>
          </a:p>
          <a:p>
            <a:pPr marL="0" lvl="0"/>
            <a:r>
              <a:rPr lang="en-US" altLang="ko-KR" dirty="0"/>
              <a:t>5</a:t>
            </a:r>
          </a:p>
          <a:p>
            <a:pPr marL="0" lvl="0"/>
            <a:endParaRPr lang="ko-KR" alt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843808" y="44624"/>
            <a:ext cx="4069392" cy="42419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endParaRPr lang="ko-KR" altLang="en-US" dirty="0"/>
          </a:p>
        </p:txBody>
      </p:sp>
      <p:sp>
        <p:nvSpPr>
          <p:cNvPr id="17" name="텍스트 개체 틀 36"/>
          <p:cNvSpPr>
            <a:spLocks noGrp="1"/>
          </p:cNvSpPr>
          <p:nvPr>
            <p:ph type="body" sz="quarter" idx="19" hasCustomPrompt="1"/>
          </p:nvPr>
        </p:nvSpPr>
        <p:spPr>
          <a:xfrm>
            <a:off x="3131841" y="1268760"/>
            <a:ext cx="5400600" cy="62671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1" hangingPunct="1">
              <a:lnSpc>
                <a:spcPct val="100000"/>
              </a:lnSpc>
              <a:spcBef>
                <a:spcPts val="224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 b="1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400" b="1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400" b="1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400" b="1"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목차를 입력하세요</a:t>
            </a:r>
            <a:r>
              <a:rPr lang="en-US" altLang="ko-KR" dirty="0"/>
              <a:t>(16</a:t>
            </a:r>
            <a:r>
              <a:rPr lang="ko-KR" altLang="en-US" dirty="0"/>
              <a:t>폰트</a:t>
            </a:r>
            <a:r>
              <a:rPr lang="en-US" altLang="ko-KR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9638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본문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 userDrawn="1"/>
        </p:nvSpPr>
        <p:spPr>
          <a:xfrm>
            <a:off x="0" y="0"/>
            <a:ext cx="9144000" cy="540000"/>
          </a:xfrm>
          <a:prstGeom prst="rect">
            <a:avLst/>
          </a:prstGeom>
          <a:solidFill>
            <a:srgbClr val="053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188222" y="94190"/>
            <a:ext cx="5976663" cy="414938"/>
          </a:xfrm>
          <a:prstGeom prst="rect">
            <a:avLst/>
          </a:prstGeom>
        </p:spPr>
        <p:txBody>
          <a:bodyPr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7" name="텍스트 개체 틀 36"/>
          <p:cNvSpPr>
            <a:spLocks noGrp="1"/>
          </p:cNvSpPr>
          <p:nvPr>
            <p:ph type="body" sz="quarter" idx="19" hasCustomPrompt="1"/>
          </p:nvPr>
        </p:nvSpPr>
        <p:spPr>
          <a:xfrm>
            <a:off x="188220" y="626892"/>
            <a:ext cx="8774623" cy="6473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1" hangingPunct="1">
              <a:lnSpc>
                <a:spcPct val="100000"/>
              </a:lnSpc>
              <a:spcBef>
                <a:spcPts val="224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 b="1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400" b="1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400" b="1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400" b="1"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dirty="0"/>
              <a:t>본 슬라이드의 핵심 메시지를 입력하세요</a:t>
            </a:r>
            <a:r>
              <a:rPr lang="en-US" altLang="ko-KR" dirty="0"/>
              <a:t>(16</a:t>
            </a:r>
            <a:r>
              <a:rPr lang="ko-KR" altLang="en-US" dirty="0"/>
              <a:t>폰트</a:t>
            </a:r>
            <a:r>
              <a:rPr lang="en-US" altLang="ko-KR" dirty="0"/>
              <a:t>)</a:t>
            </a: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dirty="0"/>
          </a:p>
        </p:txBody>
      </p:sp>
      <p:sp>
        <p:nvSpPr>
          <p:cNvPr id="9" name="텍스트 개체 틀 1"/>
          <p:cNvSpPr>
            <a:spLocks noGrp="1"/>
          </p:cNvSpPr>
          <p:nvPr>
            <p:ph type="body" sz="quarter" idx="11"/>
          </p:nvPr>
        </p:nvSpPr>
        <p:spPr>
          <a:xfrm>
            <a:off x="6446631" y="292884"/>
            <a:ext cx="2493039" cy="216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endParaRPr lang="ko-KR" altLang="en-US" dirty="0"/>
          </a:p>
        </p:txBody>
      </p:sp>
      <p:sp>
        <p:nvSpPr>
          <p:cNvPr id="11" name="Rectangle 2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37117" y="6630955"/>
            <a:ext cx="869766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88" tIns="44450" rIns="90488" bIns="44450">
            <a:spAutoFit/>
          </a:bodyPr>
          <a:lstStyle/>
          <a:p>
            <a:pPr algn="ctr" defTabSz="762000">
              <a:defRPr/>
            </a:pPr>
            <a:fld id="{F1C0AC2C-357D-48B5-9B9F-B938ABE0BBCE}" type="slidenum">
              <a:rPr lang="en-US" altLang="ko-KR" sz="900" smtClean="0">
                <a:latin typeface="+mn-ea"/>
                <a:ea typeface="+mn-ea"/>
              </a:rPr>
              <a:pPr algn="ctr" defTabSz="762000">
                <a:defRPr/>
              </a:pPr>
              <a:t>‹#›</a:t>
            </a:fld>
            <a:r>
              <a:rPr lang="en-US" altLang="ko-KR" sz="900" dirty="0">
                <a:latin typeface="+mn-ea"/>
                <a:ea typeface="+mn-e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084060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orient="horz" pos="845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pos="2880">
          <p15:clr>
            <a:srgbClr val="FBAE40"/>
          </p15:clr>
        </p15:guide>
        <p15:guide id="5" pos="5647">
          <p15:clr>
            <a:srgbClr val="FBAE40"/>
          </p15:clr>
        </p15:guide>
        <p15:guide id="6" pos="1156">
          <p15:clr>
            <a:srgbClr val="FBAE40"/>
          </p15:clr>
        </p15:guide>
        <p15:guide id="7" orient="horz" pos="391">
          <p15:clr>
            <a:srgbClr val="FBAE40"/>
          </p15:clr>
        </p15:guide>
        <p15:guide id="8" pos="1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본문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137117" y="6630955"/>
            <a:ext cx="869766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88" tIns="44450" rIns="90488" bIns="44450">
            <a:spAutoFit/>
          </a:bodyPr>
          <a:lstStyle/>
          <a:p>
            <a:pPr algn="ctr" defTabSz="762000">
              <a:defRPr/>
            </a:pPr>
            <a:fld id="{F1C0AC2C-357D-48B5-9B9F-B938ABE0BBCE}" type="slidenum">
              <a:rPr lang="en-US" altLang="ko-KR" sz="900" smtClean="0">
                <a:latin typeface="+mn-ea"/>
                <a:ea typeface="+mn-ea"/>
              </a:rPr>
              <a:pPr algn="ctr" defTabSz="762000">
                <a:defRPr/>
              </a:pPr>
              <a:t>‹#›</a:t>
            </a:fld>
            <a:r>
              <a:rPr lang="en-US" altLang="ko-KR" sz="900" dirty="0">
                <a:latin typeface="+mn-ea"/>
                <a:ea typeface="+mn-e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598904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orient="horz" pos="845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pos="2880">
          <p15:clr>
            <a:srgbClr val="FBAE40"/>
          </p15:clr>
        </p15:guide>
        <p15:guide id="5" pos="5647">
          <p15:clr>
            <a:srgbClr val="FBAE40"/>
          </p15:clr>
        </p15:guide>
        <p15:guide id="6" pos="1156">
          <p15:clr>
            <a:srgbClr val="FBAE40"/>
          </p15:clr>
        </p15:guide>
        <p15:guide id="7" orient="horz" pos="391">
          <p15:clr>
            <a:srgbClr val="FBAE40"/>
          </p15:clr>
        </p15:guide>
        <p15:guide id="8" pos="11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6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24297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9" r:id="rId2"/>
    <p:sldLayoutId id="2147483668" r:id="rId3"/>
    <p:sldLayoutId id="2147483671" r:id="rId4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1385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1477" b="1">
          <a:solidFill>
            <a:schemeClr val="tx2"/>
          </a:solidFill>
          <a:latin typeface="맑은 고딕" pitchFamily="50" charset="-127"/>
          <a:ea typeface="맑은 고딕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1477" b="1">
          <a:solidFill>
            <a:schemeClr val="tx2"/>
          </a:solidFill>
          <a:latin typeface="맑은 고딕" pitchFamily="50" charset="-127"/>
          <a:ea typeface="맑은 고딕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1477" b="1">
          <a:solidFill>
            <a:schemeClr val="tx2"/>
          </a:solidFill>
          <a:latin typeface="맑은 고딕" pitchFamily="50" charset="-127"/>
          <a:ea typeface="맑은 고딕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1477" b="1">
          <a:solidFill>
            <a:schemeClr val="tx2"/>
          </a:solidFill>
          <a:latin typeface="맑은 고딕" pitchFamily="50" charset="-127"/>
          <a:ea typeface="맑은 고딕" pitchFamily="50" charset="-127"/>
        </a:defRPr>
      </a:lvl5pPr>
      <a:lvl6pPr marL="422041" algn="ctr" rtl="0" fontAlgn="base" latinLnBrk="1">
        <a:spcBef>
          <a:spcPct val="0"/>
        </a:spcBef>
        <a:spcAft>
          <a:spcPct val="0"/>
        </a:spcAft>
        <a:defRPr kumimoji="1" sz="4062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844083" algn="ctr" rtl="0" fontAlgn="base" latinLnBrk="1">
        <a:spcBef>
          <a:spcPct val="0"/>
        </a:spcBef>
        <a:spcAft>
          <a:spcPct val="0"/>
        </a:spcAft>
        <a:defRPr kumimoji="1" sz="4062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266124" algn="ctr" rtl="0" fontAlgn="base" latinLnBrk="1">
        <a:spcBef>
          <a:spcPct val="0"/>
        </a:spcBef>
        <a:spcAft>
          <a:spcPct val="0"/>
        </a:spcAft>
        <a:defRPr kumimoji="1" sz="4062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688165" algn="ctr" rtl="0" fontAlgn="base" latinLnBrk="1">
        <a:spcBef>
          <a:spcPct val="0"/>
        </a:spcBef>
        <a:spcAft>
          <a:spcPct val="0"/>
        </a:spcAft>
        <a:defRPr kumimoji="1" sz="4062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16531" indent="-316531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954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585">
          <a:solidFill>
            <a:schemeClr val="tx1"/>
          </a:solidFill>
          <a:latin typeface="+mn-lt"/>
          <a:ea typeface="+mn-ea"/>
        </a:defRPr>
      </a:lvl2pPr>
      <a:lvl3pPr marL="1055103" indent="-211021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215">
          <a:solidFill>
            <a:schemeClr val="tx1"/>
          </a:solidFill>
          <a:latin typeface="+mn-lt"/>
          <a:ea typeface="+mn-ea"/>
        </a:defRPr>
      </a:lvl3pPr>
      <a:lvl4pPr marL="1477145" indent="-211021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846">
          <a:solidFill>
            <a:schemeClr val="tx1"/>
          </a:solidFill>
          <a:latin typeface="+mn-lt"/>
          <a:ea typeface="+mn-ea"/>
        </a:defRPr>
      </a:lvl4pPr>
      <a:lvl5pPr marL="1899186" indent="-211021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5pPr>
      <a:lvl6pPr marL="2321227" indent="-211021" algn="l" rtl="0" fontAlgn="base" latinLnBrk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6pPr>
      <a:lvl7pPr marL="2743269" indent="-211021" algn="l" rtl="0" fontAlgn="base" latinLnBrk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7pPr>
      <a:lvl8pPr marL="3165310" indent="-211021" algn="l" rtl="0" fontAlgn="base" latinLnBrk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8pPr>
      <a:lvl9pPr marL="3587351" indent="-211021" algn="l" rtl="0" fontAlgn="base" latinLnBrk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1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ko-KR" altLang="en-US" dirty="0"/>
              <a:t>화면</a:t>
            </a:r>
            <a:r>
              <a:rPr lang="en-US" altLang="ko-KR" dirty="0"/>
              <a:t>(UI)</a:t>
            </a:r>
            <a:r>
              <a:rPr lang="ko-KR" altLang="en-US" dirty="0"/>
              <a:t>정의서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en-US" altLang="ko-KR" dirty="0"/>
              <a:t>SW</a:t>
            </a:r>
            <a:r>
              <a:rPr lang="ko-KR" altLang="en-US" dirty="0"/>
              <a:t>융합제품 서비스 개발지원사업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altLang="ko-KR" dirty="0" err="1"/>
              <a:t>Welbato</a:t>
            </a:r>
            <a:r>
              <a:rPr lang="en-US" altLang="ko-KR" dirty="0"/>
              <a:t> </a:t>
            </a:r>
            <a:r>
              <a:rPr lang="ko-KR" altLang="en-US" dirty="0"/>
              <a:t>프로젝트</a:t>
            </a:r>
            <a:endParaRPr lang="en-US" altLang="ko-KR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ko-KR" altLang="en-US" dirty="0"/>
              <a:t>㈜비틀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624CEABF-FD18-4AF4-9567-35D33AE938ED}"/>
              </a:ext>
            </a:extLst>
          </p:cNvPr>
          <p:cNvSpPr/>
          <p:nvPr/>
        </p:nvSpPr>
        <p:spPr>
          <a:xfrm>
            <a:off x="6689532" y="366212"/>
            <a:ext cx="2223859" cy="72979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atinLnBrk="0">
              <a:lnSpc>
                <a:spcPct val="110000"/>
              </a:lnSpc>
              <a:spcBef>
                <a:spcPts val="320"/>
              </a:spcBef>
            </a:pPr>
            <a:r>
              <a:rPr lang="ko-KR" altLang="en-US" sz="1100" b="1" dirty="0">
                <a:solidFill>
                  <a:srgbClr val="000000"/>
                </a:solidFill>
              </a:rPr>
              <a:t>문서번호 </a:t>
            </a:r>
            <a:r>
              <a:rPr lang="en-US" altLang="ko-KR" sz="1100" b="1" dirty="0">
                <a:solidFill>
                  <a:srgbClr val="000000"/>
                </a:solidFill>
              </a:rPr>
              <a:t>: BSMW-ACUA-002</a:t>
            </a:r>
          </a:p>
          <a:p>
            <a:pPr latinLnBrk="0">
              <a:lnSpc>
                <a:spcPct val="110000"/>
              </a:lnSpc>
              <a:spcBef>
                <a:spcPts val="320"/>
              </a:spcBef>
            </a:pPr>
            <a:r>
              <a:rPr lang="ko-KR" altLang="en-US" sz="1100" b="1" dirty="0">
                <a:solidFill>
                  <a:srgbClr val="000000"/>
                </a:solidFill>
              </a:rPr>
              <a:t>개정번호 </a:t>
            </a:r>
            <a:r>
              <a:rPr lang="en-US" altLang="ko-KR" sz="1100" b="1" dirty="0">
                <a:solidFill>
                  <a:srgbClr val="000000"/>
                </a:solidFill>
              </a:rPr>
              <a:t>: 1.0</a:t>
            </a: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B16BD492-BBCF-4051-8779-13B664E1FE1E}"/>
              </a:ext>
            </a:extLst>
          </p:cNvPr>
          <p:cNvSpPr/>
          <p:nvPr/>
        </p:nvSpPr>
        <p:spPr>
          <a:xfrm>
            <a:off x="235237" y="731108"/>
            <a:ext cx="1096403" cy="104170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4F741BED-6977-404B-86F4-6B38E8AB8C3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774790" cy="52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0614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0656313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아이디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비밀번호를 찾는 화면으로 이동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7457453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08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로그인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아이디 비번을 잃어버리셨나요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?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6873C4C-FBE9-4D2D-A1C2-90712B9E8174}"/>
              </a:ext>
            </a:extLst>
          </p:cNvPr>
          <p:cNvSpPr txBox="1"/>
          <p:nvPr/>
        </p:nvSpPr>
        <p:spPr>
          <a:xfrm>
            <a:off x="2720351" y="1677065"/>
            <a:ext cx="18213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800" dirty="0">
                <a:latin typeface="+mn-ea"/>
              </a:rPr>
              <a:t>Login</a:t>
            </a:r>
            <a:endParaRPr lang="ko-KR" altLang="en-US" sz="4800" dirty="0">
              <a:latin typeface="+mn-ea"/>
              <a:ea typeface="+mn-ea"/>
            </a:endParaRP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B0BF426C-9A5A-4FEB-AC37-48A3C12E36A4}"/>
              </a:ext>
            </a:extLst>
          </p:cNvPr>
          <p:cNvGrpSpPr/>
          <p:nvPr/>
        </p:nvGrpSpPr>
        <p:grpSpPr>
          <a:xfrm>
            <a:off x="1979712" y="2564904"/>
            <a:ext cx="3240360" cy="504056"/>
            <a:chOff x="1979712" y="2564904"/>
            <a:chExt cx="3240360" cy="504056"/>
          </a:xfrm>
        </p:grpSpPr>
        <p:sp>
          <p:nvSpPr>
            <p:cNvPr id="4" name="직사각형 3">
              <a:extLst>
                <a:ext uri="{FF2B5EF4-FFF2-40B4-BE49-F238E27FC236}">
                  <a16:creationId xmlns:a16="http://schemas.microsoft.com/office/drawing/2014/main" id="{4717471F-53FF-4807-A972-2B39574D91AF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F293393-B89B-419A-B68F-9958BDE326C9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</a:rPr>
                <a:t>아이디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6B0317F3-3107-4168-B430-205D790977DD}"/>
              </a:ext>
            </a:extLst>
          </p:cNvPr>
          <p:cNvGrpSpPr/>
          <p:nvPr/>
        </p:nvGrpSpPr>
        <p:grpSpPr>
          <a:xfrm>
            <a:off x="1979712" y="3358990"/>
            <a:ext cx="3240360" cy="504056"/>
            <a:chOff x="1979712" y="2564904"/>
            <a:chExt cx="3240360" cy="504056"/>
          </a:xfrm>
        </p:grpSpPr>
        <p:sp>
          <p:nvSpPr>
            <p:cNvPr id="17" name="직사각형 16">
              <a:extLst>
                <a:ext uri="{FF2B5EF4-FFF2-40B4-BE49-F238E27FC236}">
                  <a16:creationId xmlns:a16="http://schemas.microsoft.com/office/drawing/2014/main" id="{A07EE09C-42E2-4B06-AC2B-9A43A6AE20FA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8178C28-A220-4CFE-9BB6-1BAEC584B928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</a:t>
              </a:r>
            </a:p>
          </p:txBody>
        </p:sp>
      </p:grp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BA1FC085-7616-47D5-AFD9-013CFB394BBA}"/>
              </a:ext>
            </a:extLst>
          </p:cNvPr>
          <p:cNvGrpSpPr/>
          <p:nvPr/>
        </p:nvGrpSpPr>
        <p:grpSpPr>
          <a:xfrm>
            <a:off x="1984031" y="4092417"/>
            <a:ext cx="1363833" cy="504056"/>
            <a:chOff x="1979712" y="2564904"/>
            <a:chExt cx="3240360" cy="504056"/>
          </a:xfrm>
        </p:grpSpPr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F7CA9AC5-EF5C-461C-BAE3-E61AAD603B4F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00A389B-9366-44EE-9A0F-5B9561E7996E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</a:rPr>
                <a:t>로그인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733AC99F-FA0A-4ACF-8A3E-9E914AF6DB21}"/>
              </a:ext>
            </a:extLst>
          </p:cNvPr>
          <p:cNvGrpSpPr/>
          <p:nvPr/>
        </p:nvGrpSpPr>
        <p:grpSpPr>
          <a:xfrm>
            <a:off x="3859829" y="4092417"/>
            <a:ext cx="1363833" cy="504056"/>
            <a:chOff x="1979712" y="2564904"/>
            <a:chExt cx="3240360" cy="504056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5071E5DB-F927-4423-9E50-C328CE3CBA3E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DE362873-56F0-454C-8517-D40447B480BC}"/>
                </a:ext>
              </a:extLst>
            </p:cNvPr>
            <p:cNvSpPr txBox="1"/>
            <p:nvPr/>
          </p:nvSpPr>
          <p:spPr>
            <a:xfrm>
              <a:off x="2088945" y="2651578"/>
              <a:ext cx="27665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>
                  <a:latin typeface="+mn-ea"/>
                  <a:ea typeface="+mn-ea"/>
                </a:rPr>
                <a:t>회원가입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1D7BD9CA-3EAA-44A6-8B06-E92EECD65B41}"/>
              </a:ext>
            </a:extLst>
          </p:cNvPr>
          <p:cNvSpPr txBox="1"/>
          <p:nvPr/>
        </p:nvSpPr>
        <p:spPr>
          <a:xfrm>
            <a:off x="1835696" y="5013176"/>
            <a:ext cx="3672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u="sng" dirty="0">
                <a:latin typeface="+mn-ea"/>
                <a:ea typeface="+mn-ea"/>
              </a:rPr>
              <a:t>아이디</a:t>
            </a:r>
            <a:r>
              <a:rPr lang="en-US" altLang="ko-KR" u="sng" dirty="0">
                <a:latin typeface="+mn-ea"/>
              </a:rPr>
              <a:t>/</a:t>
            </a:r>
            <a:r>
              <a:rPr lang="ko-KR" altLang="en-US" u="sng" dirty="0">
                <a:latin typeface="+mn-ea"/>
              </a:rPr>
              <a:t>비밀번호를 잊어버리셨나요</a:t>
            </a:r>
            <a:r>
              <a:rPr lang="en-US" altLang="ko-KR" u="sng" dirty="0">
                <a:latin typeface="+mn-ea"/>
              </a:rPr>
              <a:t>?</a:t>
            </a:r>
            <a:endParaRPr lang="ko-KR" altLang="en-US" u="sng" dirty="0">
              <a:latin typeface="+mn-ea"/>
              <a:ea typeface="+mn-ea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46654728-EAC7-479B-9650-EEA6B31DD79A}"/>
              </a:ext>
            </a:extLst>
          </p:cNvPr>
          <p:cNvSpPr/>
          <p:nvPr/>
        </p:nvSpPr>
        <p:spPr>
          <a:xfrm>
            <a:off x="1827893" y="4797150"/>
            <a:ext cx="3680211" cy="78312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0254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6272240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아이디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비밀번호 입력 칸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2186000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09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회원가입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/PW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입력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5A64CDB1-CBB8-4781-A76D-862A9BED87E8}"/>
              </a:ext>
            </a:extLst>
          </p:cNvPr>
          <p:cNvSpPr txBox="1"/>
          <p:nvPr/>
        </p:nvSpPr>
        <p:spPr>
          <a:xfrm>
            <a:off x="2293940" y="1648921"/>
            <a:ext cx="26089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800" dirty="0">
                <a:latin typeface="+mn-ea"/>
                <a:ea typeface="+mn-ea"/>
              </a:rPr>
              <a:t>Sign up</a:t>
            </a:r>
            <a:endParaRPr lang="ko-KR" altLang="en-US" sz="4800" dirty="0">
              <a:latin typeface="+mn-ea"/>
              <a:ea typeface="+mn-ea"/>
            </a:endParaRP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0DE7A455-2032-4527-809F-EA0B5BD383E4}"/>
              </a:ext>
            </a:extLst>
          </p:cNvPr>
          <p:cNvGrpSpPr/>
          <p:nvPr/>
        </p:nvGrpSpPr>
        <p:grpSpPr>
          <a:xfrm>
            <a:off x="1979712" y="2564904"/>
            <a:ext cx="3240360" cy="504056"/>
            <a:chOff x="1979712" y="2564904"/>
            <a:chExt cx="3240360" cy="504056"/>
          </a:xfrm>
        </p:grpSpPr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3E7FB8E1-1D9F-4FD0-BACD-49EA2F1F33CB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496F7C8-7489-442D-9EA6-167AF909440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</a:rPr>
                <a:t>아이디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486A85A-9F22-43BD-B747-F971990CA34F}"/>
              </a:ext>
            </a:extLst>
          </p:cNvPr>
          <p:cNvGrpSpPr/>
          <p:nvPr/>
        </p:nvGrpSpPr>
        <p:grpSpPr>
          <a:xfrm>
            <a:off x="1978237" y="3233941"/>
            <a:ext cx="3240360" cy="504056"/>
            <a:chOff x="1979712" y="2564904"/>
            <a:chExt cx="3240360" cy="504056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AF335BC6-059E-4737-8505-85477E79619F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8B6D810-61FE-44FD-B328-FA0EA11E0E61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</a:t>
              </a:r>
            </a:p>
          </p:txBody>
        </p:sp>
      </p:grp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4DAC8C1A-7695-4DE4-8FD2-9D0493B095F3}"/>
              </a:ext>
            </a:extLst>
          </p:cNvPr>
          <p:cNvGrpSpPr/>
          <p:nvPr/>
        </p:nvGrpSpPr>
        <p:grpSpPr>
          <a:xfrm>
            <a:off x="1978237" y="3909709"/>
            <a:ext cx="3240360" cy="504056"/>
            <a:chOff x="1979712" y="2564904"/>
            <a:chExt cx="3240360" cy="504056"/>
          </a:xfrm>
        </p:grpSpPr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CA2729BE-C067-4A80-AE30-D238A8921C90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F934644-1115-41EC-8C06-1BB1BC9A8A2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 </a:t>
              </a:r>
              <a:r>
                <a:rPr lang="ko-KR" altLang="en-US" dirty="0">
                  <a:latin typeface="+mn-ea"/>
                </a:rPr>
                <a:t>확인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CEC772C8-6E0A-4689-9D0C-E8E316D389EA}"/>
              </a:ext>
            </a:extLst>
          </p:cNvPr>
          <p:cNvGrpSpPr/>
          <p:nvPr/>
        </p:nvGrpSpPr>
        <p:grpSpPr>
          <a:xfrm>
            <a:off x="1978237" y="4560532"/>
            <a:ext cx="3240360" cy="504056"/>
            <a:chOff x="1979712" y="2564904"/>
            <a:chExt cx="3240360" cy="504056"/>
          </a:xfrm>
        </p:grpSpPr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C5BC6A09-01E8-4271-A6B7-9F8685DD183D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F59440A-6BA6-4EFF-983E-6A9EEC076626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이름 입력</a:t>
              </a:r>
            </a:p>
          </p:txBody>
        </p:sp>
      </p:grp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2B5E37C8-3A36-47F5-8618-85D84B0D8701}"/>
              </a:ext>
            </a:extLst>
          </p:cNvPr>
          <p:cNvGrpSpPr/>
          <p:nvPr/>
        </p:nvGrpSpPr>
        <p:grpSpPr>
          <a:xfrm>
            <a:off x="5348917" y="4550653"/>
            <a:ext cx="951275" cy="504056"/>
            <a:chOff x="1979712" y="2564904"/>
            <a:chExt cx="3240360" cy="504056"/>
          </a:xfrm>
        </p:grpSpPr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41EADF1D-F849-4AB5-9908-4205803B3435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9543FD4-10E2-4FFF-BBC5-10F7B1B5B556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  <a:ea typeface="+mn-ea"/>
                </a:rPr>
                <a:t>중복확인</a:t>
              </a:r>
            </a:p>
          </p:txBody>
        </p:sp>
      </p:grp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046EFF47-27E7-4AE7-B974-4BF4EF4AD2A3}"/>
              </a:ext>
            </a:extLst>
          </p:cNvPr>
          <p:cNvGrpSpPr/>
          <p:nvPr/>
        </p:nvGrpSpPr>
        <p:grpSpPr>
          <a:xfrm>
            <a:off x="1978237" y="5209664"/>
            <a:ext cx="3240360" cy="504056"/>
            <a:chOff x="1979712" y="2564904"/>
            <a:chExt cx="3240360" cy="504056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A8513A41-D7E8-4231-850D-42450A391217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499064C-50FD-417D-8659-A20C2D53551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이메일</a:t>
              </a:r>
            </a:p>
          </p:txBody>
        </p:sp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87931B5C-377F-4730-95DE-2A9F0F179FC7}"/>
              </a:ext>
            </a:extLst>
          </p:cNvPr>
          <p:cNvGrpSpPr/>
          <p:nvPr/>
        </p:nvGrpSpPr>
        <p:grpSpPr>
          <a:xfrm>
            <a:off x="5380985" y="5184595"/>
            <a:ext cx="951275" cy="504056"/>
            <a:chOff x="1979712" y="2564904"/>
            <a:chExt cx="3240360" cy="504056"/>
          </a:xfrm>
        </p:grpSpPr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0B46182A-6F6F-44DD-8AAE-9CFCBB3A1C8A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1227AE04-69DA-4C63-9FB0-7258138AC0C6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</a:rPr>
                <a:t>인증</a:t>
              </a:r>
              <a:endParaRPr lang="ko-KR" altLang="en-US" sz="1200" dirty="0">
                <a:latin typeface="+mn-ea"/>
                <a:ea typeface="+mn-ea"/>
              </a:endParaRPr>
            </a:p>
          </p:txBody>
        </p:sp>
      </p:grp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450B8142-E9D9-4240-B7C4-A7271D9C7EFA}"/>
              </a:ext>
            </a:extLst>
          </p:cNvPr>
          <p:cNvGrpSpPr/>
          <p:nvPr/>
        </p:nvGrpSpPr>
        <p:grpSpPr>
          <a:xfrm>
            <a:off x="1978237" y="5858789"/>
            <a:ext cx="3240360" cy="504056"/>
            <a:chOff x="1979712" y="2564904"/>
            <a:chExt cx="3240360" cy="504056"/>
          </a:xfrm>
        </p:grpSpPr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279DE982-627D-4433-AFF9-E4775B7B271B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06A5713-5B31-4BBF-BAC1-551CFFA04B50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인증 코드</a:t>
              </a:r>
            </a:p>
          </p:txBody>
        </p:sp>
      </p:grp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FC9117D5-23BD-44C7-BDF1-E54F407B1ED4}"/>
              </a:ext>
            </a:extLst>
          </p:cNvPr>
          <p:cNvGrpSpPr/>
          <p:nvPr/>
        </p:nvGrpSpPr>
        <p:grpSpPr>
          <a:xfrm>
            <a:off x="3022813" y="6473708"/>
            <a:ext cx="951275" cy="504056"/>
            <a:chOff x="1979712" y="2564904"/>
            <a:chExt cx="3240360" cy="504056"/>
          </a:xfrm>
        </p:grpSpPr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D01F9F97-89AE-4A0A-BED0-BA9713457462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FF858E4-C87B-4524-BD0A-3ED7F310712A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  <a:ea typeface="+mn-ea"/>
                </a:rPr>
                <a:t>회원가입</a:t>
              </a:r>
            </a:p>
          </p:txBody>
        </p:sp>
      </p:grp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9E80816E-A216-4090-89AB-2F59C982DD03}"/>
              </a:ext>
            </a:extLst>
          </p:cNvPr>
          <p:cNvSpPr/>
          <p:nvPr/>
        </p:nvSpPr>
        <p:spPr>
          <a:xfrm>
            <a:off x="1754510" y="2493040"/>
            <a:ext cx="3680211" cy="1305024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249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1788745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비밀번호 확인 칸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5213016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10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회원가입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PW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확인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5A64CDB1-CBB8-4781-A76D-862A9BED87E8}"/>
              </a:ext>
            </a:extLst>
          </p:cNvPr>
          <p:cNvSpPr txBox="1"/>
          <p:nvPr/>
        </p:nvSpPr>
        <p:spPr>
          <a:xfrm>
            <a:off x="2293940" y="1648921"/>
            <a:ext cx="26089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800" dirty="0">
                <a:latin typeface="+mn-ea"/>
                <a:ea typeface="+mn-ea"/>
              </a:rPr>
              <a:t>Sign up</a:t>
            </a:r>
            <a:endParaRPr lang="ko-KR" altLang="en-US" sz="4800" dirty="0">
              <a:latin typeface="+mn-ea"/>
              <a:ea typeface="+mn-ea"/>
            </a:endParaRP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0DE7A455-2032-4527-809F-EA0B5BD383E4}"/>
              </a:ext>
            </a:extLst>
          </p:cNvPr>
          <p:cNvGrpSpPr/>
          <p:nvPr/>
        </p:nvGrpSpPr>
        <p:grpSpPr>
          <a:xfrm>
            <a:off x="1979712" y="2564904"/>
            <a:ext cx="3240360" cy="504056"/>
            <a:chOff x="1979712" y="2564904"/>
            <a:chExt cx="3240360" cy="504056"/>
          </a:xfrm>
        </p:grpSpPr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3E7FB8E1-1D9F-4FD0-BACD-49EA2F1F33CB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496F7C8-7489-442D-9EA6-167AF909440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</a:rPr>
                <a:t>아이디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486A85A-9F22-43BD-B747-F971990CA34F}"/>
              </a:ext>
            </a:extLst>
          </p:cNvPr>
          <p:cNvGrpSpPr/>
          <p:nvPr/>
        </p:nvGrpSpPr>
        <p:grpSpPr>
          <a:xfrm>
            <a:off x="1978237" y="3233941"/>
            <a:ext cx="3240360" cy="504056"/>
            <a:chOff x="1979712" y="2564904"/>
            <a:chExt cx="3240360" cy="504056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AF335BC6-059E-4737-8505-85477E79619F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8B6D810-61FE-44FD-B328-FA0EA11E0E61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</a:t>
              </a:r>
            </a:p>
          </p:txBody>
        </p:sp>
      </p:grp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4DAC8C1A-7695-4DE4-8FD2-9D0493B095F3}"/>
              </a:ext>
            </a:extLst>
          </p:cNvPr>
          <p:cNvGrpSpPr/>
          <p:nvPr/>
        </p:nvGrpSpPr>
        <p:grpSpPr>
          <a:xfrm>
            <a:off x="1978237" y="3909709"/>
            <a:ext cx="3240360" cy="504056"/>
            <a:chOff x="1979712" y="2564904"/>
            <a:chExt cx="3240360" cy="504056"/>
          </a:xfrm>
        </p:grpSpPr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CA2729BE-C067-4A80-AE30-D238A8921C90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F934644-1115-41EC-8C06-1BB1BC9A8A2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 </a:t>
              </a:r>
              <a:r>
                <a:rPr lang="ko-KR" altLang="en-US" dirty="0">
                  <a:latin typeface="+mn-ea"/>
                </a:rPr>
                <a:t>확인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CEC772C8-6E0A-4689-9D0C-E8E316D389EA}"/>
              </a:ext>
            </a:extLst>
          </p:cNvPr>
          <p:cNvGrpSpPr/>
          <p:nvPr/>
        </p:nvGrpSpPr>
        <p:grpSpPr>
          <a:xfrm>
            <a:off x="1978237" y="4560532"/>
            <a:ext cx="3240360" cy="504056"/>
            <a:chOff x="1979712" y="2564904"/>
            <a:chExt cx="3240360" cy="504056"/>
          </a:xfrm>
        </p:grpSpPr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C5BC6A09-01E8-4271-A6B7-9F8685DD183D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F59440A-6BA6-4EFF-983E-6A9EEC076626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이름 입력</a:t>
              </a:r>
            </a:p>
          </p:txBody>
        </p:sp>
      </p:grp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2B5E37C8-3A36-47F5-8618-85D84B0D8701}"/>
              </a:ext>
            </a:extLst>
          </p:cNvPr>
          <p:cNvGrpSpPr/>
          <p:nvPr/>
        </p:nvGrpSpPr>
        <p:grpSpPr>
          <a:xfrm>
            <a:off x="5348917" y="4550653"/>
            <a:ext cx="951275" cy="504056"/>
            <a:chOff x="1979712" y="2564904"/>
            <a:chExt cx="3240360" cy="504056"/>
          </a:xfrm>
        </p:grpSpPr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41EADF1D-F849-4AB5-9908-4205803B3435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9543FD4-10E2-4FFF-BBC5-10F7B1B5B556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  <a:ea typeface="+mn-ea"/>
                </a:rPr>
                <a:t>중복확인</a:t>
              </a:r>
            </a:p>
          </p:txBody>
        </p:sp>
      </p:grp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046EFF47-27E7-4AE7-B974-4BF4EF4AD2A3}"/>
              </a:ext>
            </a:extLst>
          </p:cNvPr>
          <p:cNvGrpSpPr/>
          <p:nvPr/>
        </p:nvGrpSpPr>
        <p:grpSpPr>
          <a:xfrm>
            <a:off x="1978237" y="5209664"/>
            <a:ext cx="3240360" cy="504056"/>
            <a:chOff x="1979712" y="2564904"/>
            <a:chExt cx="3240360" cy="504056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A8513A41-D7E8-4231-850D-42450A391217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499064C-50FD-417D-8659-A20C2D53551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이메일</a:t>
              </a:r>
            </a:p>
          </p:txBody>
        </p:sp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87931B5C-377F-4730-95DE-2A9F0F179FC7}"/>
              </a:ext>
            </a:extLst>
          </p:cNvPr>
          <p:cNvGrpSpPr/>
          <p:nvPr/>
        </p:nvGrpSpPr>
        <p:grpSpPr>
          <a:xfrm>
            <a:off x="5380985" y="5184595"/>
            <a:ext cx="951275" cy="504056"/>
            <a:chOff x="1979712" y="2564904"/>
            <a:chExt cx="3240360" cy="504056"/>
          </a:xfrm>
        </p:grpSpPr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0B46182A-6F6F-44DD-8AAE-9CFCBB3A1C8A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1227AE04-69DA-4C63-9FB0-7258138AC0C6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</a:rPr>
                <a:t>인증</a:t>
              </a:r>
              <a:endParaRPr lang="ko-KR" altLang="en-US" sz="1200" dirty="0">
                <a:latin typeface="+mn-ea"/>
                <a:ea typeface="+mn-ea"/>
              </a:endParaRPr>
            </a:p>
          </p:txBody>
        </p:sp>
      </p:grp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450B8142-E9D9-4240-B7C4-A7271D9C7EFA}"/>
              </a:ext>
            </a:extLst>
          </p:cNvPr>
          <p:cNvGrpSpPr/>
          <p:nvPr/>
        </p:nvGrpSpPr>
        <p:grpSpPr>
          <a:xfrm>
            <a:off x="1978237" y="5858789"/>
            <a:ext cx="3240360" cy="504056"/>
            <a:chOff x="1979712" y="2564904"/>
            <a:chExt cx="3240360" cy="504056"/>
          </a:xfrm>
        </p:grpSpPr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279DE982-627D-4433-AFF9-E4775B7B271B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06A5713-5B31-4BBF-BAC1-551CFFA04B50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인증 코드</a:t>
              </a:r>
            </a:p>
          </p:txBody>
        </p:sp>
      </p:grp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FC9117D5-23BD-44C7-BDF1-E54F407B1ED4}"/>
              </a:ext>
            </a:extLst>
          </p:cNvPr>
          <p:cNvGrpSpPr/>
          <p:nvPr/>
        </p:nvGrpSpPr>
        <p:grpSpPr>
          <a:xfrm>
            <a:off x="3022813" y="6473708"/>
            <a:ext cx="951275" cy="504056"/>
            <a:chOff x="1979712" y="2564904"/>
            <a:chExt cx="3240360" cy="504056"/>
          </a:xfrm>
        </p:grpSpPr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D01F9F97-89AE-4A0A-BED0-BA9713457462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FF858E4-C87B-4524-BD0A-3ED7F310712A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  <a:ea typeface="+mn-ea"/>
                </a:rPr>
                <a:t>회원가입</a:t>
              </a:r>
            </a:p>
          </p:txBody>
        </p:sp>
      </p:grp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9E80816E-A216-4090-89AB-2F59C982DD03}"/>
              </a:ext>
            </a:extLst>
          </p:cNvPr>
          <p:cNvSpPr/>
          <p:nvPr/>
        </p:nvSpPr>
        <p:spPr>
          <a:xfrm flipV="1">
            <a:off x="1754510" y="3798064"/>
            <a:ext cx="3680211" cy="714418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611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9081302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이름 입력하고 같은 이름이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DB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에 이미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저장되어있나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확인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7171079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11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회원가입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이름 입력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중복 확인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5A64CDB1-CBB8-4781-A76D-862A9BED87E8}"/>
              </a:ext>
            </a:extLst>
          </p:cNvPr>
          <p:cNvSpPr txBox="1"/>
          <p:nvPr/>
        </p:nvSpPr>
        <p:spPr>
          <a:xfrm>
            <a:off x="2293940" y="1648921"/>
            <a:ext cx="26089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800" dirty="0">
                <a:latin typeface="+mn-ea"/>
                <a:ea typeface="+mn-ea"/>
              </a:rPr>
              <a:t>Sign up</a:t>
            </a:r>
            <a:endParaRPr lang="ko-KR" altLang="en-US" sz="4800" dirty="0">
              <a:latin typeface="+mn-ea"/>
              <a:ea typeface="+mn-ea"/>
            </a:endParaRP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0DE7A455-2032-4527-809F-EA0B5BD383E4}"/>
              </a:ext>
            </a:extLst>
          </p:cNvPr>
          <p:cNvGrpSpPr/>
          <p:nvPr/>
        </p:nvGrpSpPr>
        <p:grpSpPr>
          <a:xfrm>
            <a:off x="1979712" y="2564904"/>
            <a:ext cx="3240360" cy="504056"/>
            <a:chOff x="1979712" y="2564904"/>
            <a:chExt cx="3240360" cy="504056"/>
          </a:xfrm>
        </p:grpSpPr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3E7FB8E1-1D9F-4FD0-BACD-49EA2F1F33CB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496F7C8-7489-442D-9EA6-167AF909440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</a:rPr>
                <a:t>아이디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486A85A-9F22-43BD-B747-F971990CA34F}"/>
              </a:ext>
            </a:extLst>
          </p:cNvPr>
          <p:cNvGrpSpPr/>
          <p:nvPr/>
        </p:nvGrpSpPr>
        <p:grpSpPr>
          <a:xfrm>
            <a:off x="1978237" y="3233941"/>
            <a:ext cx="3240360" cy="504056"/>
            <a:chOff x="1979712" y="2564904"/>
            <a:chExt cx="3240360" cy="504056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AF335BC6-059E-4737-8505-85477E79619F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8B6D810-61FE-44FD-B328-FA0EA11E0E61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</a:t>
              </a:r>
            </a:p>
          </p:txBody>
        </p:sp>
      </p:grp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4DAC8C1A-7695-4DE4-8FD2-9D0493B095F3}"/>
              </a:ext>
            </a:extLst>
          </p:cNvPr>
          <p:cNvGrpSpPr/>
          <p:nvPr/>
        </p:nvGrpSpPr>
        <p:grpSpPr>
          <a:xfrm>
            <a:off x="1978237" y="3909709"/>
            <a:ext cx="3240360" cy="504056"/>
            <a:chOff x="1979712" y="2564904"/>
            <a:chExt cx="3240360" cy="504056"/>
          </a:xfrm>
        </p:grpSpPr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CA2729BE-C067-4A80-AE30-D238A8921C90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F934644-1115-41EC-8C06-1BB1BC9A8A2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 </a:t>
              </a:r>
              <a:r>
                <a:rPr lang="ko-KR" altLang="en-US" dirty="0">
                  <a:latin typeface="+mn-ea"/>
                </a:rPr>
                <a:t>확인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CEC772C8-6E0A-4689-9D0C-E8E316D389EA}"/>
              </a:ext>
            </a:extLst>
          </p:cNvPr>
          <p:cNvGrpSpPr/>
          <p:nvPr/>
        </p:nvGrpSpPr>
        <p:grpSpPr>
          <a:xfrm>
            <a:off x="1978237" y="4560532"/>
            <a:ext cx="3240360" cy="504056"/>
            <a:chOff x="1979712" y="2564904"/>
            <a:chExt cx="3240360" cy="504056"/>
          </a:xfrm>
        </p:grpSpPr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C5BC6A09-01E8-4271-A6B7-9F8685DD183D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F59440A-6BA6-4EFF-983E-6A9EEC076626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이름 입력</a:t>
              </a:r>
            </a:p>
          </p:txBody>
        </p:sp>
      </p:grp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2B5E37C8-3A36-47F5-8618-85D84B0D8701}"/>
              </a:ext>
            </a:extLst>
          </p:cNvPr>
          <p:cNvGrpSpPr/>
          <p:nvPr/>
        </p:nvGrpSpPr>
        <p:grpSpPr>
          <a:xfrm>
            <a:off x="5348917" y="4550653"/>
            <a:ext cx="951275" cy="504056"/>
            <a:chOff x="1979712" y="2564904"/>
            <a:chExt cx="3240360" cy="504056"/>
          </a:xfrm>
        </p:grpSpPr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41EADF1D-F849-4AB5-9908-4205803B3435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9543FD4-10E2-4FFF-BBC5-10F7B1B5B556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  <a:ea typeface="+mn-ea"/>
                </a:rPr>
                <a:t>중복확인</a:t>
              </a:r>
            </a:p>
          </p:txBody>
        </p:sp>
      </p:grp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046EFF47-27E7-4AE7-B974-4BF4EF4AD2A3}"/>
              </a:ext>
            </a:extLst>
          </p:cNvPr>
          <p:cNvGrpSpPr/>
          <p:nvPr/>
        </p:nvGrpSpPr>
        <p:grpSpPr>
          <a:xfrm>
            <a:off x="1978237" y="5209664"/>
            <a:ext cx="3240360" cy="504056"/>
            <a:chOff x="1979712" y="2564904"/>
            <a:chExt cx="3240360" cy="504056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A8513A41-D7E8-4231-850D-42450A391217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499064C-50FD-417D-8659-A20C2D53551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이메일</a:t>
              </a:r>
            </a:p>
          </p:txBody>
        </p:sp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87931B5C-377F-4730-95DE-2A9F0F179FC7}"/>
              </a:ext>
            </a:extLst>
          </p:cNvPr>
          <p:cNvGrpSpPr/>
          <p:nvPr/>
        </p:nvGrpSpPr>
        <p:grpSpPr>
          <a:xfrm>
            <a:off x="5380985" y="5184595"/>
            <a:ext cx="951275" cy="504056"/>
            <a:chOff x="1979712" y="2564904"/>
            <a:chExt cx="3240360" cy="504056"/>
          </a:xfrm>
        </p:grpSpPr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0B46182A-6F6F-44DD-8AAE-9CFCBB3A1C8A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1227AE04-69DA-4C63-9FB0-7258138AC0C6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</a:rPr>
                <a:t>인증</a:t>
              </a:r>
              <a:endParaRPr lang="ko-KR" altLang="en-US" sz="1200" dirty="0">
                <a:latin typeface="+mn-ea"/>
                <a:ea typeface="+mn-ea"/>
              </a:endParaRPr>
            </a:p>
          </p:txBody>
        </p:sp>
      </p:grp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450B8142-E9D9-4240-B7C4-A7271D9C7EFA}"/>
              </a:ext>
            </a:extLst>
          </p:cNvPr>
          <p:cNvGrpSpPr/>
          <p:nvPr/>
        </p:nvGrpSpPr>
        <p:grpSpPr>
          <a:xfrm>
            <a:off x="1978237" y="5858789"/>
            <a:ext cx="3240360" cy="504056"/>
            <a:chOff x="1979712" y="2564904"/>
            <a:chExt cx="3240360" cy="504056"/>
          </a:xfrm>
        </p:grpSpPr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279DE982-627D-4433-AFF9-E4775B7B271B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06A5713-5B31-4BBF-BAC1-551CFFA04B50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인증 코드</a:t>
              </a:r>
            </a:p>
          </p:txBody>
        </p:sp>
      </p:grp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FC9117D5-23BD-44C7-BDF1-E54F407B1ED4}"/>
              </a:ext>
            </a:extLst>
          </p:cNvPr>
          <p:cNvGrpSpPr/>
          <p:nvPr/>
        </p:nvGrpSpPr>
        <p:grpSpPr>
          <a:xfrm>
            <a:off x="3022813" y="6473708"/>
            <a:ext cx="951275" cy="504056"/>
            <a:chOff x="1979712" y="2564904"/>
            <a:chExt cx="3240360" cy="504056"/>
          </a:xfrm>
        </p:grpSpPr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D01F9F97-89AE-4A0A-BED0-BA9713457462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FF858E4-C87B-4524-BD0A-3ED7F310712A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  <a:ea typeface="+mn-ea"/>
                </a:rPr>
                <a:t>회원가입</a:t>
              </a:r>
            </a:p>
          </p:txBody>
        </p:sp>
      </p:grp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9E80816E-A216-4090-89AB-2F59C982DD03}"/>
              </a:ext>
            </a:extLst>
          </p:cNvPr>
          <p:cNvSpPr/>
          <p:nvPr/>
        </p:nvSpPr>
        <p:spPr>
          <a:xfrm>
            <a:off x="1754510" y="4512481"/>
            <a:ext cx="4689698" cy="643473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0624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7490334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이메일을 입력하고 메일에 인증코드를 발송함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1210026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12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회원가입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이메일 입력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인증 받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5A64CDB1-CBB8-4781-A76D-862A9BED87E8}"/>
              </a:ext>
            </a:extLst>
          </p:cNvPr>
          <p:cNvSpPr txBox="1"/>
          <p:nvPr/>
        </p:nvSpPr>
        <p:spPr>
          <a:xfrm>
            <a:off x="2293940" y="1648921"/>
            <a:ext cx="26089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800" dirty="0">
                <a:latin typeface="+mn-ea"/>
                <a:ea typeface="+mn-ea"/>
              </a:rPr>
              <a:t>Sign up</a:t>
            </a:r>
            <a:endParaRPr lang="ko-KR" altLang="en-US" sz="4800" dirty="0">
              <a:latin typeface="+mn-ea"/>
              <a:ea typeface="+mn-ea"/>
            </a:endParaRP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0DE7A455-2032-4527-809F-EA0B5BD383E4}"/>
              </a:ext>
            </a:extLst>
          </p:cNvPr>
          <p:cNvGrpSpPr/>
          <p:nvPr/>
        </p:nvGrpSpPr>
        <p:grpSpPr>
          <a:xfrm>
            <a:off x="1979712" y="2564904"/>
            <a:ext cx="3240360" cy="504056"/>
            <a:chOff x="1979712" y="2564904"/>
            <a:chExt cx="3240360" cy="504056"/>
          </a:xfrm>
        </p:grpSpPr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3E7FB8E1-1D9F-4FD0-BACD-49EA2F1F33CB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496F7C8-7489-442D-9EA6-167AF909440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</a:rPr>
                <a:t>아이디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486A85A-9F22-43BD-B747-F971990CA34F}"/>
              </a:ext>
            </a:extLst>
          </p:cNvPr>
          <p:cNvGrpSpPr/>
          <p:nvPr/>
        </p:nvGrpSpPr>
        <p:grpSpPr>
          <a:xfrm>
            <a:off x="1978237" y="3233941"/>
            <a:ext cx="3240360" cy="504056"/>
            <a:chOff x="1979712" y="2564904"/>
            <a:chExt cx="3240360" cy="504056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AF335BC6-059E-4737-8505-85477E79619F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8B6D810-61FE-44FD-B328-FA0EA11E0E61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</a:t>
              </a:r>
            </a:p>
          </p:txBody>
        </p:sp>
      </p:grp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4DAC8C1A-7695-4DE4-8FD2-9D0493B095F3}"/>
              </a:ext>
            </a:extLst>
          </p:cNvPr>
          <p:cNvGrpSpPr/>
          <p:nvPr/>
        </p:nvGrpSpPr>
        <p:grpSpPr>
          <a:xfrm>
            <a:off x="1978237" y="3909709"/>
            <a:ext cx="3240360" cy="504056"/>
            <a:chOff x="1979712" y="2564904"/>
            <a:chExt cx="3240360" cy="504056"/>
          </a:xfrm>
        </p:grpSpPr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CA2729BE-C067-4A80-AE30-D238A8921C90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F934644-1115-41EC-8C06-1BB1BC9A8A2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 </a:t>
              </a:r>
              <a:r>
                <a:rPr lang="ko-KR" altLang="en-US" dirty="0">
                  <a:latin typeface="+mn-ea"/>
                </a:rPr>
                <a:t>확인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CEC772C8-6E0A-4689-9D0C-E8E316D389EA}"/>
              </a:ext>
            </a:extLst>
          </p:cNvPr>
          <p:cNvGrpSpPr/>
          <p:nvPr/>
        </p:nvGrpSpPr>
        <p:grpSpPr>
          <a:xfrm>
            <a:off x="1978237" y="4560532"/>
            <a:ext cx="3240360" cy="504056"/>
            <a:chOff x="1979712" y="2564904"/>
            <a:chExt cx="3240360" cy="504056"/>
          </a:xfrm>
        </p:grpSpPr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C5BC6A09-01E8-4271-A6B7-9F8685DD183D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F59440A-6BA6-4EFF-983E-6A9EEC076626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이름 입력</a:t>
              </a:r>
            </a:p>
          </p:txBody>
        </p:sp>
      </p:grp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2B5E37C8-3A36-47F5-8618-85D84B0D8701}"/>
              </a:ext>
            </a:extLst>
          </p:cNvPr>
          <p:cNvGrpSpPr/>
          <p:nvPr/>
        </p:nvGrpSpPr>
        <p:grpSpPr>
          <a:xfrm>
            <a:off x="5348917" y="4550653"/>
            <a:ext cx="951275" cy="504056"/>
            <a:chOff x="1979712" y="2564904"/>
            <a:chExt cx="3240360" cy="504056"/>
          </a:xfrm>
        </p:grpSpPr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41EADF1D-F849-4AB5-9908-4205803B3435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9543FD4-10E2-4FFF-BBC5-10F7B1B5B556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  <a:ea typeface="+mn-ea"/>
                </a:rPr>
                <a:t>중복확인</a:t>
              </a:r>
            </a:p>
          </p:txBody>
        </p:sp>
      </p:grp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046EFF47-27E7-4AE7-B974-4BF4EF4AD2A3}"/>
              </a:ext>
            </a:extLst>
          </p:cNvPr>
          <p:cNvGrpSpPr/>
          <p:nvPr/>
        </p:nvGrpSpPr>
        <p:grpSpPr>
          <a:xfrm>
            <a:off x="1978237" y="5209664"/>
            <a:ext cx="3240360" cy="504056"/>
            <a:chOff x="1979712" y="2564904"/>
            <a:chExt cx="3240360" cy="504056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A8513A41-D7E8-4231-850D-42450A391217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499064C-50FD-417D-8659-A20C2D53551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이메일</a:t>
              </a:r>
            </a:p>
          </p:txBody>
        </p:sp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87931B5C-377F-4730-95DE-2A9F0F179FC7}"/>
              </a:ext>
            </a:extLst>
          </p:cNvPr>
          <p:cNvGrpSpPr/>
          <p:nvPr/>
        </p:nvGrpSpPr>
        <p:grpSpPr>
          <a:xfrm>
            <a:off x="5380985" y="5184595"/>
            <a:ext cx="951275" cy="504056"/>
            <a:chOff x="1979712" y="2564904"/>
            <a:chExt cx="3240360" cy="504056"/>
          </a:xfrm>
        </p:grpSpPr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0B46182A-6F6F-44DD-8AAE-9CFCBB3A1C8A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1227AE04-69DA-4C63-9FB0-7258138AC0C6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</a:rPr>
                <a:t>인증</a:t>
              </a:r>
              <a:endParaRPr lang="ko-KR" altLang="en-US" sz="1200" dirty="0">
                <a:latin typeface="+mn-ea"/>
                <a:ea typeface="+mn-ea"/>
              </a:endParaRPr>
            </a:p>
          </p:txBody>
        </p:sp>
      </p:grp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450B8142-E9D9-4240-B7C4-A7271D9C7EFA}"/>
              </a:ext>
            </a:extLst>
          </p:cNvPr>
          <p:cNvGrpSpPr/>
          <p:nvPr/>
        </p:nvGrpSpPr>
        <p:grpSpPr>
          <a:xfrm>
            <a:off x="1978237" y="5858789"/>
            <a:ext cx="3240360" cy="504056"/>
            <a:chOff x="1979712" y="2564904"/>
            <a:chExt cx="3240360" cy="504056"/>
          </a:xfrm>
        </p:grpSpPr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279DE982-627D-4433-AFF9-E4775B7B271B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06A5713-5B31-4BBF-BAC1-551CFFA04B50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인증 코드</a:t>
              </a:r>
            </a:p>
          </p:txBody>
        </p:sp>
      </p:grp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FC9117D5-23BD-44C7-BDF1-E54F407B1ED4}"/>
              </a:ext>
            </a:extLst>
          </p:cNvPr>
          <p:cNvGrpSpPr/>
          <p:nvPr/>
        </p:nvGrpSpPr>
        <p:grpSpPr>
          <a:xfrm>
            <a:off x="3022813" y="6473708"/>
            <a:ext cx="951275" cy="504056"/>
            <a:chOff x="1979712" y="2564904"/>
            <a:chExt cx="3240360" cy="504056"/>
          </a:xfrm>
        </p:grpSpPr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D01F9F97-89AE-4A0A-BED0-BA9713457462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FF858E4-C87B-4524-BD0A-3ED7F310712A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  <a:ea typeface="+mn-ea"/>
                </a:rPr>
                <a:t>회원가입</a:t>
              </a:r>
            </a:p>
          </p:txBody>
        </p:sp>
      </p:grp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9E80816E-A216-4090-89AB-2F59C982DD03}"/>
              </a:ext>
            </a:extLst>
          </p:cNvPr>
          <p:cNvSpPr/>
          <p:nvPr/>
        </p:nvSpPr>
        <p:spPr>
          <a:xfrm flipV="1">
            <a:off x="1754510" y="5155954"/>
            <a:ext cx="4689698" cy="649126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512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752330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인증코드를 입력하는 곳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4315985"/>
              </p:ext>
            </p:extLst>
          </p:nvPr>
        </p:nvGraphicFramePr>
        <p:xfrm>
          <a:off x="211170" y="282536"/>
          <a:ext cx="8681310" cy="842208"/>
        </p:xfrm>
        <a:graphic>
          <a:graphicData uri="http://schemas.openxmlformats.org/drawingml/2006/table">
            <a:tbl>
              <a:tblPr/>
              <a:tblGrid>
                <a:gridCol w="11973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203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85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050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073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13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073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회원가입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073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인증코드 입력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5A64CDB1-CBB8-4781-A76D-862A9BED87E8}"/>
              </a:ext>
            </a:extLst>
          </p:cNvPr>
          <p:cNvSpPr txBox="1"/>
          <p:nvPr/>
        </p:nvSpPr>
        <p:spPr>
          <a:xfrm>
            <a:off x="2293940" y="1648921"/>
            <a:ext cx="26089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800" dirty="0">
                <a:latin typeface="+mn-ea"/>
                <a:ea typeface="+mn-ea"/>
              </a:rPr>
              <a:t>Sign up</a:t>
            </a:r>
            <a:endParaRPr lang="ko-KR" altLang="en-US" sz="4800" dirty="0">
              <a:latin typeface="+mn-ea"/>
              <a:ea typeface="+mn-ea"/>
            </a:endParaRP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0DE7A455-2032-4527-809F-EA0B5BD383E4}"/>
              </a:ext>
            </a:extLst>
          </p:cNvPr>
          <p:cNvGrpSpPr/>
          <p:nvPr/>
        </p:nvGrpSpPr>
        <p:grpSpPr>
          <a:xfrm>
            <a:off x="1979712" y="2564904"/>
            <a:ext cx="3240360" cy="504056"/>
            <a:chOff x="1979712" y="2564904"/>
            <a:chExt cx="3240360" cy="504056"/>
          </a:xfrm>
        </p:grpSpPr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3E7FB8E1-1D9F-4FD0-BACD-49EA2F1F33CB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496F7C8-7489-442D-9EA6-167AF909440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</a:rPr>
                <a:t>아이디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486A85A-9F22-43BD-B747-F971990CA34F}"/>
              </a:ext>
            </a:extLst>
          </p:cNvPr>
          <p:cNvGrpSpPr/>
          <p:nvPr/>
        </p:nvGrpSpPr>
        <p:grpSpPr>
          <a:xfrm>
            <a:off x="1978237" y="3233941"/>
            <a:ext cx="3240360" cy="504056"/>
            <a:chOff x="1979712" y="2564904"/>
            <a:chExt cx="3240360" cy="504056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AF335BC6-059E-4737-8505-85477E79619F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8B6D810-61FE-44FD-B328-FA0EA11E0E61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</a:t>
              </a:r>
            </a:p>
          </p:txBody>
        </p:sp>
      </p:grp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4DAC8C1A-7695-4DE4-8FD2-9D0493B095F3}"/>
              </a:ext>
            </a:extLst>
          </p:cNvPr>
          <p:cNvGrpSpPr/>
          <p:nvPr/>
        </p:nvGrpSpPr>
        <p:grpSpPr>
          <a:xfrm>
            <a:off x="1978237" y="3909709"/>
            <a:ext cx="3240360" cy="504056"/>
            <a:chOff x="1979712" y="2564904"/>
            <a:chExt cx="3240360" cy="504056"/>
          </a:xfrm>
        </p:grpSpPr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CA2729BE-C067-4A80-AE30-D238A8921C90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F934644-1115-41EC-8C06-1BB1BC9A8A2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 </a:t>
              </a:r>
              <a:r>
                <a:rPr lang="ko-KR" altLang="en-US" dirty="0">
                  <a:latin typeface="+mn-ea"/>
                </a:rPr>
                <a:t>확인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CEC772C8-6E0A-4689-9D0C-E8E316D389EA}"/>
              </a:ext>
            </a:extLst>
          </p:cNvPr>
          <p:cNvGrpSpPr/>
          <p:nvPr/>
        </p:nvGrpSpPr>
        <p:grpSpPr>
          <a:xfrm>
            <a:off x="1978237" y="4560532"/>
            <a:ext cx="3240360" cy="504056"/>
            <a:chOff x="1979712" y="2564904"/>
            <a:chExt cx="3240360" cy="504056"/>
          </a:xfrm>
        </p:grpSpPr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C5BC6A09-01E8-4271-A6B7-9F8685DD183D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F59440A-6BA6-4EFF-983E-6A9EEC076626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이름 입력</a:t>
              </a:r>
            </a:p>
          </p:txBody>
        </p:sp>
      </p:grp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2B5E37C8-3A36-47F5-8618-85D84B0D8701}"/>
              </a:ext>
            </a:extLst>
          </p:cNvPr>
          <p:cNvGrpSpPr/>
          <p:nvPr/>
        </p:nvGrpSpPr>
        <p:grpSpPr>
          <a:xfrm>
            <a:off x="5348917" y="4550653"/>
            <a:ext cx="951275" cy="504056"/>
            <a:chOff x="1979712" y="2564904"/>
            <a:chExt cx="3240360" cy="504056"/>
          </a:xfrm>
        </p:grpSpPr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41EADF1D-F849-4AB5-9908-4205803B3435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9543FD4-10E2-4FFF-BBC5-10F7B1B5B556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  <a:ea typeface="+mn-ea"/>
                </a:rPr>
                <a:t>중복확인</a:t>
              </a:r>
            </a:p>
          </p:txBody>
        </p:sp>
      </p:grp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046EFF47-27E7-4AE7-B974-4BF4EF4AD2A3}"/>
              </a:ext>
            </a:extLst>
          </p:cNvPr>
          <p:cNvGrpSpPr/>
          <p:nvPr/>
        </p:nvGrpSpPr>
        <p:grpSpPr>
          <a:xfrm>
            <a:off x="1978237" y="5209664"/>
            <a:ext cx="3240360" cy="504056"/>
            <a:chOff x="1979712" y="2564904"/>
            <a:chExt cx="3240360" cy="504056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A8513A41-D7E8-4231-850D-42450A391217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499064C-50FD-417D-8659-A20C2D53551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이메일</a:t>
              </a:r>
            </a:p>
          </p:txBody>
        </p:sp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87931B5C-377F-4730-95DE-2A9F0F179FC7}"/>
              </a:ext>
            </a:extLst>
          </p:cNvPr>
          <p:cNvGrpSpPr/>
          <p:nvPr/>
        </p:nvGrpSpPr>
        <p:grpSpPr>
          <a:xfrm>
            <a:off x="5380985" y="5184595"/>
            <a:ext cx="951275" cy="504056"/>
            <a:chOff x="1979712" y="2564904"/>
            <a:chExt cx="3240360" cy="504056"/>
          </a:xfrm>
        </p:grpSpPr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0B46182A-6F6F-44DD-8AAE-9CFCBB3A1C8A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1227AE04-69DA-4C63-9FB0-7258138AC0C6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</a:rPr>
                <a:t>인증</a:t>
              </a:r>
              <a:endParaRPr lang="ko-KR" altLang="en-US" sz="1200" dirty="0">
                <a:latin typeface="+mn-ea"/>
                <a:ea typeface="+mn-ea"/>
              </a:endParaRPr>
            </a:p>
          </p:txBody>
        </p:sp>
      </p:grp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450B8142-E9D9-4240-B7C4-A7271D9C7EFA}"/>
              </a:ext>
            </a:extLst>
          </p:cNvPr>
          <p:cNvGrpSpPr/>
          <p:nvPr/>
        </p:nvGrpSpPr>
        <p:grpSpPr>
          <a:xfrm>
            <a:off x="1978237" y="5858789"/>
            <a:ext cx="3240360" cy="504056"/>
            <a:chOff x="1979712" y="2564904"/>
            <a:chExt cx="3240360" cy="504056"/>
          </a:xfrm>
        </p:grpSpPr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279DE982-627D-4433-AFF9-E4775B7B271B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06A5713-5B31-4BBF-BAC1-551CFFA04B50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인증 코드</a:t>
              </a:r>
            </a:p>
          </p:txBody>
        </p:sp>
      </p:grp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FC9117D5-23BD-44C7-BDF1-E54F407B1ED4}"/>
              </a:ext>
            </a:extLst>
          </p:cNvPr>
          <p:cNvGrpSpPr/>
          <p:nvPr/>
        </p:nvGrpSpPr>
        <p:grpSpPr>
          <a:xfrm>
            <a:off x="3022813" y="6473708"/>
            <a:ext cx="951275" cy="504056"/>
            <a:chOff x="1979712" y="2564904"/>
            <a:chExt cx="3240360" cy="504056"/>
          </a:xfrm>
        </p:grpSpPr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D01F9F97-89AE-4A0A-BED0-BA9713457462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FF858E4-C87B-4524-BD0A-3ED7F310712A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  <a:ea typeface="+mn-ea"/>
                </a:rPr>
                <a:t>회원가입</a:t>
              </a:r>
            </a:p>
          </p:txBody>
        </p:sp>
      </p:grp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9E80816E-A216-4090-89AB-2F59C982DD03}"/>
              </a:ext>
            </a:extLst>
          </p:cNvPr>
          <p:cNvSpPr/>
          <p:nvPr/>
        </p:nvSpPr>
        <p:spPr>
          <a:xfrm>
            <a:off x="1754510" y="5805079"/>
            <a:ext cx="3626475" cy="643657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3871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0344987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회원가입 완료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1845127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14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회원가입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가입 완료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5A64CDB1-CBB8-4781-A76D-862A9BED87E8}"/>
              </a:ext>
            </a:extLst>
          </p:cNvPr>
          <p:cNvSpPr txBox="1"/>
          <p:nvPr/>
        </p:nvSpPr>
        <p:spPr>
          <a:xfrm>
            <a:off x="2293940" y="1648921"/>
            <a:ext cx="26089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800" dirty="0">
                <a:latin typeface="+mn-ea"/>
                <a:ea typeface="+mn-ea"/>
              </a:rPr>
              <a:t>Sign up</a:t>
            </a:r>
            <a:endParaRPr lang="ko-KR" altLang="en-US" sz="4800" dirty="0">
              <a:latin typeface="+mn-ea"/>
              <a:ea typeface="+mn-ea"/>
            </a:endParaRP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0DE7A455-2032-4527-809F-EA0B5BD383E4}"/>
              </a:ext>
            </a:extLst>
          </p:cNvPr>
          <p:cNvGrpSpPr/>
          <p:nvPr/>
        </p:nvGrpSpPr>
        <p:grpSpPr>
          <a:xfrm>
            <a:off x="1979712" y="2564904"/>
            <a:ext cx="3240360" cy="504056"/>
            <a:chOff x="1979712" y="2564904"/>
            <a:chExt cx="3240360" cy="504056"/>
          </a:xfrm>
        </p:grpSpPr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3E7FB8E1-1D9F-4FD0-BACD-49EA2F1F33CB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496F7C8-7489-442D-9EA6-167AF909440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</a:rPr>
                <a:t>아이디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4486A85A-9F22-43BD-B747-F971990CA34F}"/>
              </a:ext>
            </a:extLst>
          </p:cNvPr>
          <p:cNvGrpSpPr/>
          <p:nvPr/>
        </p:nvGrpSpPr>
        <p:grpSpPr>
          <a:xfrm>
            <a:off x="1978237" y="3233941"/>
            <a:ext cx="3240360" cy="504056"/>
            <a:chOff x="1979712" y="2564904"/>
            <a:chExt cx="3240360" cy="504056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AF335BC6-059E-4737-8505-85477E79619F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8B6D810-61FE-44FD-B328-FA0EA11E0E61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</a:t>
              </a:r>
            </a:p>
          </p:txBody>
        </p:sp>
      </p:grp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4DAC8C1A-7695-4DE4-8FD2-9D0493B095F3}"/>
              </a:ext>
            </a:extLst>
          </p:cNvPr>
          <p:cNvGrpSpPr/>
          <p:nvPr/>
        </p:nvGrpSpPr>
        <p:grpSpPr>
          <a:xfrm>
            <a:off x="1978237" y="3909709"/>
            <a:ext cx="3240360" cy="504056"/>
            <a:chOff x="1979712" y="2564904"/>
            <a:chExt cx="3240360" cy="504056"/>
          </a:xfrm>
        </p:grpSpPr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CA2729BE-C067-4A80-AE30-D238A8921C90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F934644-1115-41EC-8C06-1BB1BC9A8A2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 </a:t>
              </a:r>
              <a:r>
                <a:rPr lang="ko-KR" altLang="en-US" dirty="0">
                  <a:latin typeface="+mn-ea"/>
                </a:rPr>
                <a:t>확인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CEC772C8-6E0A-4689-9D0C-E8E316D389EA}"/>
              </a:ext>
            </a:extLst>
          </p:cNvPr>
          <p:cNvGrpSpPr/>
          <p:nvPr/>
        </p:nvGrpSpPr>
        <p:grpSpPr>
          <a:xfrm>
            <a:off x="1978237" y="4560532"/>
            <a:ext cx="3240360" cy="504056"/>
            <a:chOff x="1979712" y="2564904"/>
            <a:chExt cx="3240360" cy="504056"/>
          </a:xfrm>
        </p:grpSpPr>
        <p:sp>
          <p:nvSpPr>
            <p:cNvPr id="33" name="직사각형 32">
              <a:extLst>
                <a:ext uri="{FF2B5EF4-FFF2-40B4-BE49-F238E27FC236}">
                  <a16:creationId xmlns:a16="http://schemas.microsoft.com/office/drawing/2014/main" id="{C5BC6A09-01E8-4271-A6B7-9F8685DD183D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F59440A-6BA6-4EFF-983E-6A9EEC076626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이름 입력</a:t>
              </a:r>
            </a:p>
          </p:txBody>
        </p:sp>
      </p:grp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2B5E37C8-3A36-47F5-8618-85D84B0D8701}"/>
              </a:ext>
            </a:extLst>
          </p:cNvPr>
          <p:cNvGrpSpPr/>
          <p:nvPr/>
        </p:nvGrpSpPr>
        <p:grpSpPr>
          <a:xfrm>
            <a:off x="5348917" y="4550653"/>
            <a:ext cx="951275" cy="504056"/>
            <a:chOff x="1979712" y="2564904"/>
            <a:chExt cx="3240360" cy="504056"/>
          </a:xfrm>
        </p:grpSpPr>
        <p:sp>
          <p:nvSpPr>
            <p:cNvPr id="36" name="직사각형 35">
              <a:extLst>
                <a:ext uri="{FF2B5EF4-FFF2-40B4-BE49-F238E27FC236}">
                  <a16:creationId xmlns:a16="http://schemas.microsoft.com/office/drawing/2014/main" id="{41EADF1D-F849-4AB5-9908-4205803B3435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9543FD4-10E2-4FFF-BBC5-10F7B1B5B556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  <a:ea typeface="+mn-ea"/>
                </a:rPr>
                <a:t>중복확인</a:t>
              </a:r>
            </a:p>
          </p:txBody>
        </p:sp>
      </p:grp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046EFF47-27E7-4AE7-B974-4BF4EF4AD2A3}"/>
              </a:ext>
            </a:extLst>
          </p:cNvPr>
          <p:cNvGrpSpPr/>
          <p:nvPr/>
        </p:nvGrpSpPr>
        <p:grpSpPr>
          <a:xfrm>
            <a:off x="1978237" y="5209664"/>
            <a:ext cx="3240360" cy="504056"/>
            <a:chOff x="1979712" y="2564904"/>
            <a:chExt cx="3240360" cy="504056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A8513A41-D7E8-4231-850D-42450A391217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499064C-50FD-417D-8659-A20C2D53551B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이메일</a:t>
              </a:r>
            </a:p>
          </p:txBody>
        </p:sp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87931B5C-377F-4730-95DE-2A9F0F179FC7}"/>
              </a:ext>
            </a:extLst>
          </p:cNvPr>
          <p:cNvGrpSpPr/>
          <p:nvPr/>
        </p:nvGrpSpPr>
        <p:grpSpPr>
          <a:xfrm>
            <a:off x="5380985" y="5184595"/>
            <a:ext cx="951275" cy="504056"/>
            <a:chOff x="1979712" y="2564904"/>
            <a:chExt cx="3240360" cy="504056"/>
          </a:xfrm>
        </p:grpSpPr>
        <p:sp>
          <p:nvSpPr>
            <p:cNvPr id="42" name="직사각형 41">
              <a:extLst>
                <a:ext uri="{FF2B5EF4-FFF2-40B4-BE49-F238E27FC236}">
                  <a16:creationId xmlns:a16="http://schemas.microsoft.com/office/drawing/2014/main" id="{0B46182A-6F6F-44DD-8AAE-9CFCBB3A1C8A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1227AE04-69DA-4C63-9FB0-7258138AC0C6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</a:rPr>
                <a:t>인증</a:t>
              </a:r>
              <a:endParaRPr lang="ko-KR" altLang="en-US" sz="1200" dirty="0">
                <a:latin typeface="+mn-ea"/>
                <a:ea typeface="+mn-ea"/>
              </a:endParaRPr>
            </a:p>
          </p:txBody>
        </p:sp>
      </p:grp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450B8142-E9D9-4240-B7C4-A7271D9C7EFA}"/>
              </a:ext>
            </a:extLst>
          </p:cNvPr>
          <p:cNvGrpSpPr/>
          <p:nvPr/>
        </p:nvGrpSpPr>
        <p:grpSpPr>
          <a:xfrm>
            <a:off x="1978237" y="5858789"/>
            <a:ext cx="3240360" cy="504056"/>
            <a:chOff x="1979712" y="2564904"/>
            <a:chExt cx="3240360" cy="504056"/>
          </a:xfrm>
        </p:grpSpPr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279DE982-627D-4433-AFF9-E4775B7B271B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06A5713-5B31-4BBF-BAC1-551CFFA04B50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인증 코드</a:t>
              </a:r>
            </a:p>
          </p:txBody>
        </p:sp>
      </p:grp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FC9117D5-23BD-44C7-BDF1-E54F407B1ED4}"/>
              </a:ext>
            </a:extLst>
          </p:cNvPr>
          <p:cNvGrpSpPr/>
          <p:nvPr/>
        </p:nvGrpSpPr>
        <p:grpSpPr>
          <a:xfrm>
            <a:off x="3022813" y="6473708"/>
            <a:ext cx="951275" cy="504056"/>
            <a:chOff x="1979712" y="2564904"/>
            <a:chExt cx="3240360" cy="504056"/>
          </a:xfrm>
        </p:grpSpPr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D01F9F97-89AE-4A0A-BED0-BA9713457462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FF858E4-C87B-4524-BD0A-3ED7F310712A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  <a:ea typeface="+mn-ea"/>
                </a:rPr>
                <a:t>회원가입</a:t>
              </a:r>
            </a:p>
          </p:txBody>
        </p:sp>
      </p:grp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9E80816E-A216-4090-89AB-2F59C982DD03}"/>
              </a:ext>
            </a:extLst>
          </p:cNvPr>
          <p:cNvSpPr/>
          <p:nvPr/>
        </p:nvSpPr>
        <p:spPr>
          <a:xfrm>
            <a:off x="2843808" y="6401469"/>
            <a:ext cx="1368152" cy="627749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2342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878865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이메일을 입력한 뒤에 다음 버튼 누르기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2018402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15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아이디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밀번호 되찾기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Email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인증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B59788F-8218-4E13-84A2-4194F16079F8}"/>
              </a:ext>
            </a:extLst>
          </p:cNvPr>
          <p:cNvSpPr txBox="1"/>
          <p:nvPr/>
        </p:nvSpPr>
        <p:spPr>
          <a:xfrm>
            <a:off x="1547664" y="1668765"/>
            <a:ext cx="43924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latin typeface="+mn-ea"/>
                <a:ea typeface="+mn-ea"/>
              </a:rPr>
              <a:t>ID/PW </a:t>
            </a:r>
            <a:r>
              <a:rPr lang="ko-KR" altLang="en-US" sz="5400" dirty="0">
                <a:latin typeface="+mn-ea"/>
                <a:ea typeface="+mn-ea"/>
              </a:rPr>
              <a:t>되찾기</a:t>
            </a:r>
          </a:p>
        </p:txBody>
      </p: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039D4B89-960D-438B-8CF5-8284E1F91A5B}"/>
              </a:ext>
            </a:extLst>
          </p:cNvPr>
          <p:cNvGrpSpPr/>
          <p:nvPr/>
        </p:nvGrpSpPr>
        <p:grpSpPr>
          <a:xfrm>
            <a:off x="3169923" y="4013877"/>
            <a:ext cx="931945" cy="504056"/>
            <a:chOff x="1979712" y="2564904"/>
            <a:chExt cx="4540372" cy="504056"/>
          </a:xfrm>
        </p:grpSpPr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3774DB94-CD48-4E37-AF0F-C4678F044712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AB4B166-DB3F-431C-8E08-623222347773}"/>
                </a:ext>
              </a:extLst>
            </p:cNvPr>
            <p:cNvSpPr txBox="1"/>
            <p:nvPr/>
          </p:nvSpPr>
          <p:spPr>
            <a:xfrm>
              <a:off x="2088941" y="2651578"/>
              <a:ext cx="44311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다음</a:t>
              </a:r>
            </a:p>
          </p:txBody>
        </p:sp>
      </p:grp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104134C7-330D-4D1C-A9A7-E59831B97DCE}"/>
              </a:ext>
            </a:extLst>
          </p:cNvPr>
          <p:cNvGrpSpPr/>
          <p:nvPr/>
        </p:nvGrpSpPr>
        <p:grpSpPr>
          <a:xfrm>
            <a:off x="1670485" y="2706365"/>
            <a:ext cx="3240360" cy="504056"/>
            <a:chOff x="1979712" y="2564904"/>
            <a:chExt cx="3240360" cy="504056"/>
          </a:xfrm>
        </p:grpSpPr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027B2713-84D4-43B2-B1DE-6D53E770B4C4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24366C1-A6D1-40F6-887E-D60F609E3C90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이메일</a:t>
              </a:r>
            </a:p>
          </p:txBody>
        </p:sp>
      </p:grpSp>
      <p:grpSp>
        <p:nvGrpSpPr>
          <p:cNvPr id="25" name="그룹 24">
            <a:extLst>
              <a:ext uri="{FF2B5EF4-FFF2-40B4-BE49-F238E27FC236}">
                <a16:creationId xmlns:a16="http://schemas.microsoft.com/office/drawing/2014/main" id="{154EA9FE-60CA-42BC-85D9-B99F25A217FD}"/>
              </a:ext>
            </a:extLst>
          </p:cNvPr>
          <p:cNvGrpSpPr/>
          <p:nvPr/>
        </p:nvGrpSpPr>
        <p:grpSpPr>
          <a:xfrm>
            <a:off x="5073233" y="2681296"/>
            <a:ext cx="951275" cy="504056"/>
            <a:chOff x="1979712" y="2564904"/>
            <a:chExt cx="3240360" cy="504056"/>
          </a:xfrm>
        </p:grpSpPr>
        <p:sp>
          <p:nvSpPr>
            <p:cNvPr id="27" name="직사각형 26">
              <a:extLst>
                <a:ext uri="{FF2B5EF4-FFF2-40B4-BE49-F238E27FC236}">
                  <a16:creationId xmlns:a16="http://schemas.microsoft.com/office/drawing/2014/main" id="{9A5CCAE1-1E78-4667-9CBF-53DFD624ADD8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831619C-870F-4F6C-A2C4-BD8DDA12BB9D}"/>
                </a:ext>
              </a:extLst>
            </p:cNvPr>
            <p:cNvSpPr txBox="1"/>
            <p:nvPr/>
          </p:nvSpPr>
          <p:spPr>
            <a:xfrm>
              <a:off x="2088946" y="2651578"/>
              <a:ext cx="28858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dirty="0">
                  <a:latin typeface="+mn-ea"/>
                </a:rPr>
                <a:t>인증</a:t>
              </a:r>
              <a:endParaRPr lang="ko-KR" altLang="en-US" sz="1200" dirty="0">
                <a:latin typeface="+mn-ea"/>
                <a:ea typeface="+mn-ea"/>
              </a:endParaRPr>
            </a:p>
          </p:txBody>
        </p:sp>
      </p:grp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8660B5C9-963B-494F-82C9-8CBF19B9C2DA}"/>
              </a:ext>
            </a:extLst>
          </p:cNvPr>
          <p:cNvGrpSpPr/>
          <p:nvPr/>
        </p:nvGrpSpPr>
        <p:grpSpPr>
          <a:xfrm>
            <a:off x="1670485" y="3355490"/>
            <a:ext cx="3240360" cy="504056"/>
            <a:chOff x="1979712" y="2564904"/>
            <a:chExt cx="3240360" cy="504056"/>
          </a:xfrm>
        </p:grpSpPr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7A8DC3CF-3368-4433-8916-E6DC7B6F362A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7617CCA2-1577-4BDE-A3FD-0ACD3DDB7466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인증 코드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26687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2334070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ID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를 화면에 보여준다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2555170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16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아이디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밀번호 되찾기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여주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B59788F-8218-4E13-84A2-4194F16079F8}"/>
              </a:ext>
            </a:extLst>
          </p:cNvPr>
          <p:cNvSpPr txBox="1"/>
          <p:nvPr/>
        </p:nvSpPr>
        <p:spPr>
          <a:xfrm>
            <a:off x="1547664" y="1668765"/>
            <a:ext cx="43924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latin typeface="+mn-ea"/>
                <a:ea typeface="+mn-ea"/>
              </a:rPr>
              <a:t>ID/PW </a:t>
            </a:r>
            <a:r>
              <a:rPr lang="ko-KR" altLang="en-US" sz="5400" dirty="0">
                <a:latin typeface="+mn-ea"/>
                <a:ea typeface="+mn-ea"/>
              </a:rPr>
              <a:t>되찾기</a:t>
            </a: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BCB80605-2BE2-4E8B-83CB-30906C82C70A}"/>
              </a:ext>
            </a:extLst>
          </p:cNvPr>
          <p:cNvGrpSpPr/>
          <p:nvPr/>
        </p:nvGrpSpPr>
        <p:grpSpPr>
          <a:xfrm>
            <a:off x="2015716" y="3774281"/>
            <a:ext cx="3240360" cy="504056"/>
            <a:chOff x="1979712" y="2564904"/>
            <a:chExt cx="3240360" cy="504056"/>
          </a:xfrm>
        </p:grpSpPr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09062BBE-0731-491F-89D5-E6B36F8A267E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2067062-D2CE-4715-90C5-67E4B63C6A2E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latin typeface="+mn-ea"/>
                </a:rPr>
                <a:t>ID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2291582-D5F7-4511-914B-E391EBF0E5D5}"/>
              </a:ext>
            </a:extLst>
          </p:cNvPr>
          <p:cNvSpPr txBox="1"/>
          <p:nvPr/>
        </p:nvSpPr>
        <p:spPr>
          <a:xfrm>
            <a:off x="2843808" y="2787225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</a:rPr>
              <a:t>당신의 </a:t>
            </a:r>
            <a:r>
              <a:rPr lang="en-US" altLang="ko-KR" dirty="0">
                <a:latin typeface="+mn-ea"/>
              </a:rPr>
              <a:t>ID</a:t>
            </a:r>
            <a:r>
              <a:rPr lang="ko-KR" altLang="en-US" dirty="0">
                <a:latin typeface="+mn-ea"/>
              </a:rPr>
              <a:t>는</a:t>
            </a:r>
            <a:r>
              <a:rPr lang="en-US" altLang="ko-KR" dirty="0">
                <a:latin typeface="+mn-ea"/>
              </a:rPr>
              <a:t>…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3211EDE8-D233-4364-89DE-EFBB83676DA6}"/>
              </a:ext>
            </a:extLst>
          </p:cNvPr>
          <p:cNvGrpSpPr/>
          <p:nvPr/>
        </p:nvGrpSpPr>
        <p:grpSpPr>
          <a:xfrm>
            <a:off x="2519365" y="4745952"/>
            <a:ext cx="2233061" cy="504056"/>
            <a:chOff x="1979712" y="2564904"/>
            <a:chExt cx="3349592" cy="504056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36B1DC5E-6CC3-496D-AD10-D65E86438820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36E5EEA-31B4-40DF-BB26-98D64958123D}"/>
                </a:ext>
              </a:extLst>
            </p:cNvPr>
            <p:cNvSpPr txBox="1"/>
            <p:nvPr/>
          </p:nvSpPr>
          <p:spPr>
            <a:xfrm>
              <a:off x="2088944" y="2651578"/>
              <a:ext cx="32403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 보러 가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397772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9109558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비밀번호를 화면에 보여준다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143460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17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아이디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밀번호 되찾기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PW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여주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B59788F-8218-4E13-84A2-4194F16079F8}"/>
              </a:ext>
            </a:extLst>
          </p:cNvPr>
          <p:cNvSpPr txBox="1"/>
          <p:nvPr/>
        </p:nvSpPr>
        <p:spPr>
          <a:xfrm>
            <a:off x="1547664" y="1668765"/>
            <a:ext cx="43924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5400" dirty="0">
                <a:latin typeface="+mn-ea"/>
                <a:ea typeface="+mn-ea"/>
              </a:rPr>
              <a:t>ID/PW </a:t>
            </a:r>
            <a:r>
              <a:rPr lang="ko-KR" altLang="en-US" sz="5400" dirty="0">
                <a:latin typeface="+mn-ea"/>
                <a:ea typeface="+mn-ea"/>
              </a:rPr>
              <a:t>되찾기</a:t>
            </a: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BCB80605-2BE2-4E8B-83CB-30906C82C70A}"/>
              </a:ext>
            </a:extLst>
          </p:cNvPr>
          <p:cNvGrpSpPr/>
          <p:nvPr/>
        </p:nvGrpSpPr>
        <p:grpSpPr>
          <a:xfrm>
            <a:off x="2015716" y="3774281"/>
            <a:ext cx="3240360" cy="504056"/>
            <a:chOff x="1979712" y="2564904"/>
            <a:chExt cx="3240360" cy="504056"/>
          </a:xfrm>
        </p:grpSpPr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09062BBE-0731-491F-89D5-E6B36F8A267E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2067062-D2CE-4715-90C5-67E4B63C6A2E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latin typeface="+mn-ea"/>
                  <a:ea typeface="+mn-ea"/>
                </a:rPr>
                <a:t>PW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2291582-D5F7-4511-914B-E391EBF0E5D5}"/>
              </a:ext>
            </a:extLst>
          </p:cNvPr>
          <p:cNvSpPr txBox="1"/>
          <p:nvPr/>
        </p:nvSpPr>
        <p:spPr>
          <a:xfrm>
            <a:off x="2843808" y="2787225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</a:rPr>
              <a:t>당신의 </a:t>
            </a:r>
            <a:r>
              <a:rPr lang="en-US" altLang="ko-KR" dirty="0">
                <a:latin typeface="+mn-ea"/>
              </a:rPr>
              <a:t>PW</a:t>
            </a:r>
            <a:r>
              <a:rPr lang="ko-KR" altLang="en-US" dirty="0">
                <a:latin typeface="+mn-ea"/>
              </a:rPr>
              <a:t>는</a:t>
            </a:r>
            <a:r>
              <a:rPr lang="en-US" altLang="ko-KR" dirty="0">
                <a:latin typeface="+mn-ea"/>
              </a:rPr>
              <a:t>…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3211EDE8-D233-4364-89DE-EFBB83676DA6}"/>
              </a:ext>
            </a:extLst>
          </p:cNvPr>
          <p:cNvGrpSpPr/>
          <p:nvPr/>
        </p:nvGrpSpPr>
        <p:grpSpPr>
          <a:xfrm>
            <a:off x="2519365" y="4745952"/>
            <a:ext cx="2233061" cy="504056"/>
            <a:chOff x="1979712" y="2564904"/>
            <a:chExt cx="3349592" cy="504056"/>
          </a:xfrm>
        </p:grpSpPr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36B1DC5E-6CC3-496D-AD10-D65E86438820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36E5EEA-31B4-40DF-BB26-98D64958123D}"/>
                </a:ext>
              </a:extLst>
            </p:cNvPr>
            <p:cNvSpPr txBox="1"/>
            <p:nvPr/>
          </p:nvSpPr>
          <p:spPr>
            <a:xfrm>
              <a:off x="2088944" y="2651578"/>
              <a:ext cx="32403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로그인 하러 가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484138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개정이력</a:t>
            </a:r>
          </a:p>
        </p:txBody>
      </p:sp>
      <p:sp>
        <p:nvSpPr>
          <p:cNvPr id="7" name="직사각형 6"/>
          <p:cNvSpPr/>
          <p:nvPr/>
        </p:nvSpPr>
        <p:spPr>
          <a:xfrm>
            <a:off x="827584" y="881548"/>
            <a:ext cx="7416000" cy="1296304"/>
          </a:xfrm>
          <a:prstGeom prst="rect">
            <a:avLst/>
          </a:prstGeom>
          <a:noFill/>
          <a:ln w="31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spcBef>
                <a:spcPts val="320"/>
              </a:spcBef>
            </a:pPr>
            <a:r>
              <a:rPr lang="en-US" altLang="ko-KR" sz="1000" dirty="0">
                <a:solidFill>
                  <a:srgbClr val="000000"/>
                </a:solidFill>
                <a:latin typeface="+mn-ea"/>
              </a:rPr>
              <a:t> </a:t>
            </a:r>
            <a:r>
              <a:rPr lang="en-US" altLang="ko-KR" sz="1000" dirty="0" err="1">
                <a:solidFill>
                  <a:srgbClr val="000000"/>
                </a:solidFill>
                <a:latin typeface="+mn-ea"/>
              </a:rPr>
              <a:t>welbato</a:t>
            </a:r>
            <a:endParaRPr lang="en-US" altLang="ko-KR" sz="1000" dirty="0">
              <a:solidFill>
                <a:srgbClr val="000000"/>
              </a:solidFill>
              <a:latin typeface="+mn-ea"/>
            </a:endParaRPr>
          </a:p>
          <a:p>
            <a:pPr algn="ctr" latinLnBrk="0">
              <a:spcBef>
                <a:spcPts val="320"/>
              </a:spcBef>
            </a:pPr>
            <a:r>
              <a:rPr lang="ko-KR" altLang="en-US" sz="2000" dirty="0">
                <a:solidFill>
                  <a:srgbClr val="000000"/>
                </a:solidFill>
                <a:latin typeface="+mn-ea"/>
              </a:rPr>
              <a:t>화면</a:t>
            </a:r>
            <a:r>
              <a:rPr lang="en-US" altLang="ko-KR" sz="2000" dirty="0">
                <a:solidFill>
                  <a:srgbClr val="000000"/>
                </a:solidFill>
                <a:latin typeface="+mn-ea"/>
              </a:rPr>
              <a:t>(UI)</a:t>
            </a:r>
            <a:r>
              <a:rPr lang="ko-KR" altLang="en-US" sz="2000" dirty="0">
                <a:solidFill>
                  <a:srgbClr val="000000"/>
                </a:solidFill>
                <a:latin typeface="+mn-ea"/>
              </a:rPr>
              <a:t>정의서</a:t>
            </a:r>
            <a:endParaRPr lang="en-US" altLang="ko-KR" sz="1000" dirty="0">
              <a:solidFill>
                <a:srgbClr val="000000"/>
              </a:solidFill>
              <a:latin typeface="+mn-ea"/>
            </a:endParaRPr>
          </a:p>
          <a:p>
            <a:pPr algn="ctr" latinLnBrk="0">
              <a:spcBef>
                <a:spcPts val="320"/>
              </a:spcBef>
            </a:pPr>
            <a:r>
              <a:rPr lang="ko-KR" altLang="en-US" sz="1000" dirty="0">
                <a:solidFill>
                  <a:srgbClr val="000000"/>
                </a:solidFill>
                <a:latin typeface="+mn-ea"/>
              </a:rPr>
              <a:t>문서번호 </a:t>
            </a:r>
            <a:r>
              <a:rPr lang="en-US" altLang="ko-KR" sz="1000" dirty="0">
                <a:solidFill>
                  <a:srgbClr val="000000"/>
                </a:solidFill>
                <a:latin typeface="+mn-ea"/>
              </a:rPr>
              <a:t>: BSMW-ACUA-002</a:t>
            </a:r>
          </a:p>
          <a:p>
            <a:pPr algn="ctr" latinLnBrk="0">
              <a:spcBef>
                <a:spcPts val="320"/>
              </a:spcBef>
            </a:pPr>
            <a:r>
              <a:rPr lang="ko-KR" altLang="en-US" sz="1000" dirty="0">
                <a:solidFill>
                  <a:srgbClr val="000000"/>
                </a:solidFill>
                <a:latin typeface="+mn-ea"/>
              </a:rPr>
              <a:t>개정번호 </a:t>
            </a:r>
            <a:r>
              <a:rPr lang="en-US" altLang="ko-KR" sz="1000" dirty="0">
                <a:solidFill>
                  <a:srgbClr val="000000"/>
                </a:solidFill>
                <a:latin typeface="+mn-ea"/>
              </a:rPr>
              <a:t>:       REV.A</a:t>
            </a:r>
          </a:p>
        </p:txBody>
      </p:sp>
      <p:graphicFrame>
        <p:nvGraphicFramePr>
          <p:cNvPr id="8" name="표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7084461"/>
              </p:ext>
            </p:extLst>
          </p:nvPr>
        </p:nvGraphicFramePr>
        <p:xfrm>
          <a:off x="827584" y="2276870"/>
          <a:ext cx="7416000" cy="4049650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0081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538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546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9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997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97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0496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effectLst/>
                          <a:latin typeface="+mj-lt"/>
                        </a:rPr>
                        <a:t>개정이력 </a:t>
                      </a:r>
                      <a:endParaRPr lang="ko-KR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</a:p>
                    <a:p>
                      <a:pPr algn="l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</a:p>
                    <a:p>
                      <a:pPr algn="l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</a:p>
                    <a:p>
                      <a:pPr algn="l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</a:p>
                    <a:p>
                      <a:pPr algn="l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</a:p>
                    <a:p>
                      <a:pPr algn="l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00" u="none" strike="noStrike" dirty="0">
                          <a:effectLst/>
                          <a:latin typeface="+mj-lt"/>
                        </a:rPr>
                        <a:t>　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휴먼명조" panose="02010504000101010101" pitchFamily="2" charset="-127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i="0" u="none" strike="noStrike" kern="1200" spc="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i="0" u="none" strike="noStrike" kern="1200" spc="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i="0" u="none" strike="noStrike" kern="1200" spc="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i="0" u="none" strike="noStrike" kern="1200" spc="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i="0" u="none" strike="noStrike" kern="1200" spc="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i="0" u="none" strike="noStrike" kern="1200" spc="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</a:rPr>
                        <a:t>REV.A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</a:rPr>
                        <a:t>2022.05.XX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</a:rPr>
                        <a:t>최초작성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spc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정현우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spc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팀원들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spc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팀원들</a:t>
                      </a: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496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  <a:ea typeface="+mn-ea"/>
                        </a:rPr>
                        <a:t>개정번호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  <a:ea typeface="+mn-ea"/>
                        </a:rPr>
                        <a:t>일자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  <a:ea typeface="+mn-ea"/>
                        </a:rPr>
                        <a:t>개정사유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  <a:ea typeface="+mn-ea"/>
                        </a:rPr>
                        <a:t>작성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  <a:ea typeface="+mn-ea"/>
                        </a:rPr>
                        <a:t>검토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 dirty="0">
                          <a:effectLst/>
                          <a:latin typeface="+mj-lt"/>
                          <a:ea typeface="+mn-ea"/>
                        </a:rPr>
                        <a:t>승인</a:t>
                      </a:r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</a:endParaRPr>
                    </a:p>
                  </a:txBody>
                  <a:tcPr marL="8730" marR="8730" marT="873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172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4593548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자신이 원하는 캐릭터를 골라 생성한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3784878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18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메타버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메인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(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앱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캐릭터 생성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6" name="타원 5">
            <a:extLst>
              <a:ext uri="{FF2B5EF4-FFF2-40B4-BE49-F238E27FC236}">
                <a16:creationId xmlns:a16="http://schemas.microsoft.com/office/drawing/2014/main" id="{4654675D-6B67-4362-86EB-69B3E18F5395}"/>
              </a:ext>
            </a:extLst>
          </p:cNvPr>
          <p:cNvSpPr/>
          <p:nvPr/>
        </p:nvSpPr>
        <p:spPr>
          <a:xfrm>
            <a:off x="2555776" y="1677065"/>
            <a:ext cx="2088232" cy="1872208"/>
          </a:xfrm>
          <a:prstGeom prst="ellipse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323502-8F9E-4E81-942D-2B6897FA85E0}"/>
              </a:ext>
            </a:extLst>
          </p:cNvPr>
          <p:cNvSpPr txBox="1"/>
          <p:nvPr/>
        </p:nvSpPr>
        <p:spPr>
          <a:xfrm>
            <a:off x="2051720" y="4141768"/>
            <a:ext cx="38797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</a:rPr>
              <a:t>당신의 캐릭터를 생성 해주세요</a:t>
            </a:r>
            <a:r>
              <a:rPr lang="en-US" altLang="ko-KR" dirty="0">
                <a:latin typeface="+mn-ea"/>
              </a:rPr>
              <a:t>.</a:t>
            </a:r>
            <a:endParaRPr lang="ko-KR" altLang="en-US" dirty="0">
              <a:latin typeface="+mn-ea"/>
              <a:ea typeface="+mn-ea"/>
            </a:endParaRPr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96B98842-56E2-442E-A5BF-722A63841D38}"/>
              </a:ext>
            </a:extLst>
          </p:cNvPr>
          <p:cNvGrpSpPr/>
          <p:nvPr/>
        </p:nvGrpSpPr>
        <p:grpSpPr>
          <a:xfrm>
            <a:off x="2627784" y="4995243"/>
            <a:ext cx="2016224" cy="504056"/>
            <a:chOff x="1979712" y="2564904"/>
            <a:chExt cx="3240360" cy="504056"/>
          </a:xfrm>
        </p:grpSpPr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96873EF9-5A7C-4A4D-9B89-5DB584D60445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DC663F1-E8E0-496E-A195-E06A19C6A166}"/>
                </a:ext>
              </a:extLst>
            </p:cNvPr>
            <p:cNvSpPr txBox="1"/>
            <p:nvPr/>
          </p:nvSpPr>
          <p:spPr>
            <a:xfrm>
              <a:off x="2088944" y="2651578"/>
              <a:ext cx="30591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</a:rPr>
                <a:t>캐릭터 생성하기</a:t>
              </a:r>
              <a:r>
                <a:rPr lang="en-US" altLang="ko-KR" dirty="0">
                  <a:latin typeface="+mn-ea"/>
                </a:rPr>
                <a:t>!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sp>
        <p:nvSpPr>
          <p:cNvPr id="8" name="이등변 삼각형 7">
            <a:extLst>
              <a:ext uri="{FF2B5EF4-FFF2-40B4-BE49-F238E27FC236}">
                <a16:creationId xmlns:a16="http://schemas.microsoft.com/office/drawing/2014/main" id="{627DB90B-D1F3-4A11-9551-121B717D30AC}"/>
              </a:ext>
            </a:extLst>
          </p:cNvPr>
          <p:cNvSpPr/>
          <p:nvPr/>
        </p:nvSpPr>
        <p:spPr>
          <a:xfrm rot="10800000">
            <a:off x="4879051" y="2343426"/>
            <a:ext cx="936104" cy="493982"/>
          </a:xfrm>
          <a:prstGeom prst="triangle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3240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가상세계서 공부하고 즐겨요&quot;…'메타버스' 올라탄 대학들 &lt; 에듀 &lt; 기사본문 - AI타임스">
            <a:extLst>
              <a:ext uri="{FF2B5EF4-FFF2-40B4-BE49-F238E27FC236}">
                <a16:creationId xmlns:a16="http://schemas.microsoft.com/office/drawing/2014/main" id="{175B1E3A-63A5-4651-A10E-2A943EC8D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324" y="1598004"/>
            <a:ext cx="6515627" cy="5088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0269318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19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메타버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메인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(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앱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조이스틱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grpSp>
        <p:nvGrpSpPr>
          <p:cNvPr id="9" name="그룹 8">
            <a:extLst>
              <a:ext uri="{FF2B5EF4-FFF2-40B4-BE49-F238E27FC236}">
                <a16:creationId xmlns:a16="http://schemas.microsoft.com/office/drawing/2014/main" id="{557DB0F5-AB15-426A-8AB2-8D6A31F0BFE3}"/>
              </a:ext>
            </a:extLst>
          </p:cNvPr>
          <p:cNvGrpSpPr/>
          <p:nvPr/>
        </p:nvGrpSpPr>
        <p:grpSpPr>
          <a:xfrm>
            <a:off x="5004048" y="5445224"/>
            <a:ext cx="1728192" cy="1241246"/>
            <a:chOff x="4572000" y="4797152"/>
            <a:chExt cx="1944216" cy="2033334"/>
          </a:xfrm>
        </p:grpSpPr>
        <p:sp>
          <p:nvSpPr>
            <p:cNvPr id="2" name="타원 1">
              <a:extLst>
                <a:ext uri="{FF2B5EF4-FFF2-40B4-BE49-F238E27FC236}">
                  <a16:creationId xmlns:a16="http://schemas.microsoft.com/office/drawing/2014/main" id="{A7CCD5EB-ADAB-41BE-91BF-3E4B055B299E}"/>
                </a:ext>
              </a:extLst>
            </p:cNvPr>
            <p:cNvSpPr/>
            <p:nvPr/>
          </p:nvSpPr>
          <p:spPr>
            <a:xfrm>
              <a:off x="4572000" y="4797152"/>
              <a:ext cx="1944216" cy="2033334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" name="이등변 삼각형 3">
              <a:extLst>
                <a:ext uri="{FF2B5EF4-FFF2-40B4-BE49-F238E27FC236}">
                  <a16:creationId xmlns:a16="http://schemas.microsoft.com/office/drawing/2014/main" id="{5B72A27B-EFA1-42E2-AE6A-D6534F7C5DB2}"/>
                </a:ext>
              </a:extLst>
            </p:cNvPr>
            <p:cNvSpPr/>
            <p:nvPr/>
          </p:nvSpPr>
          <p:spPr>
            <a:xfrm>
              <a:off x="5145487" y="4812784"/>
              <a:ext cx="864096" cy="632440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8" name="이등변 삼각형 17">
              <a:extLst>
                <a:ext uri="{FF2B5EF4-FFF2-40B4-BE49-F238E27FC236}">
                  <a16:creationId xmlns:a16="http://schemas.microsoft.com/office/drawing/2014/main" id="{5E5FE4CA-6F2C-424C-947C-B77EB91DB7DB}"/>
                </a:ext>
              </a:extLst>
            </p:cNvPr>
            <p:cNvSpPr/>
            <p:nvPr/>
          </p:nvSpPr>
          <p:spPr>
            <a:xfrm rot="16200000">
              <a:off x="4448502" y="5604322"/>
              <a:ext cx="851729" cy="533532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이등변 삼각형 18">
              <a:extLst>
                <a:ext uri="{FF2B5EF4-FFF2-40B4-BE49-F238E27FC236}">
                  <a16:creationId xmlns:a16="http://schemas.microsoft.com/office/drawing/2014/main" id="{24F8C723-694C-464E-AADB-E7F3E4AA33C6}"/>
                </a:ext>
              </a:extLst>
            </p:cNvPr>
            <p:cNvSpPr/>
            <p:nvPr/>
          </p:nvSpPr>
          <p:spPr>
            <a:xfrm rot="5400000">
              <a:off x="5823585" y="5604322"/>
              <a:ext cx="851729" cy="533532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25" name="이등변 삼각형 24">
              <a:extLst>
                <a:ext uri="{FF2B5EF4-FFF2-40B4-BE49-F238E27FC236}">
                  <a16:creationId xmlns:a16="http://schemas.microsoft.com/office/drawing/2014/main" id="{82D45A88-F65B-4A1A-9D3E-18C8579BB894}"/>
                </a:ext>
              </a:extLst>
            </p:cNvPr>
            <p:cNvSpPr/>
            <p:nvPr/>
          </p:nvSpPr>
          <p:spPr>
            <a:xfrm rot="10800000">
              <a:off x="5126598" y="6296953"/>
              <a:ext cx="851729" cy="533532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8743810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앱에서는 조이스틱을 이용해 캐릭터를 움직인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sp>
        <p:nvSpPr>
          <p:cNvPr id="27" name="직사각형 26">
            <a:extLst>
              <a:ext uri="{FF2B5EF4-FFF2-40B4-BE49-F238E27FC236}">
                <a16:creationId xmlns:a16="http://schemas.microsoft.com/office/drawing/2014/main" id="{48C43A67-0CB4-425B-9448-CD5185BFE12B}"/>
              </a:ext>
            </a:extLst>
          </p:cNvPr>
          <p:cNvSpPr/>
          <p:nvPr/>
        </p:nvSpPr>
        <p:spPr>
          <a:xfrm flipV="1">
            <a:off x="4860032" y="5259995"/>
            <a:ext cx="2304256" cy="1491428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3400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가상세계서 공부하고 즐겨요&quot;…'메타버스' 올라탄 대학들 &lt; 에듀 &lt; 기사본문 - AI타임스">
            <a:extLst>
              <a:ext uri="{FF2B5EF4-FFF2-40B4-BE49-F238E27FC236}">
                <a16:creationId xmlns:a16="http://schemas.microsoft.com/office/drawing/2014/main" id="{175B1E3A-63A5-4651-A10E-2A943EC8D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324" y="1598004"/>
            <a:ext cx="6515627" cy="5088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3087894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20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메타버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메인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(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앱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스팟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grpSp>
        <p:nvGrpSpPr>
          <p:cNvPr id="9" name="그룹 8">
            <a:extLst>
              <a:ext uri="{FF2B5EF4-FFF2-40B4-BE49-F238E27FC236}">
                <a16:creationId xmlns:a16="http://schemas.microsoft.com/office/drawing/2014/main" id="{557DB0F5-AB15-426A-8AB2-8D6A31F0BFE3}"/>
              </a:ext>
            </a:extLst>
          </p:cNvPr>
          <p:cNvGrpSpPr/>
          <p:nvPr/>
        </p:nvGrpSpPr>
        <p:grpSpPr>
          <a:xfrm>
            <a:off x="5004048" y="5445224"/>
            <a:ext cx="1728192" cy="1241246"/>
            <a:chOff x="4572000" y="4797152"/>
            <a:chExt cx="1944216" cy="2033334"/>
          </a:xfrm>
        </p:grpSpPr>
        <p:sp>
          <p:nvSpPr>
            <p:cNvPr id="2" name="타원 1">
              <a:extLst>
                <a:ext uri="{FF2B5EF4-FFF2-40B4-BE49-F238E27FC236}">
                  <a16:creationId xmlns:a16="http://schemas.microsoft.com/office/drawing/2014/main" id="{A7CCD5EB-ADAB-41BE-91BF-3E4B055B299E}"/>
                </a:ext>
              </a:extLst>
            </p:cNvPr>
            <p:cNvSpPr/>
            <p:nvPr/>
          </p:nvSpPr>
          <p:spPr>
            <a:xfrm>
              <a:off x="4572000" y="4797152"/>
              <a:ext cx="1944216" cy="2033334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" name="이등변 삼각형 3">
              <a:extLst>
                <a:ext uri="{FF2B5EF4-FFF2-40B4-BE49-F238E27FC236}">
                  <a16:creationId xmlns:a16="http://schemas.microsoft.com/office/drawing/2014/main" id="{5B72A27B-EFA1-42E2-AE6A-D6534F7C5DB2}"/>
                </a:ext>
              </a:extLst>
            </p:cNvPr>
            <p:cNvSpPr/>
            <p:nvPr/>
          </p:nvSpPr>
          <p:spPr>
            <a:xfrm>
              <a:off x="5145487" y="4812784"/>
              <a:ext cx="864096" cy="632440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8" name="이등변 삼각형 17">
              <a:extLst>
                <a:ext uri="{FF2B5EF4-FFF2-40B4-BE49-F238E27FC236}">
                  <a16:creationId xmlns:a16="http://schemas.microsoft.com/office/drawing/2014/main" id="{5E5FE4CA-6F2C-424C-947C-B77EB91DB7DB}"/>
                </a:ext>
              </a:extLst>
            </p:cNvPr>
            <p:cNvSpPr/>
            <p:nvPr/>
          </p:nvSpPr>
          <p:spPr>
            <a:xfrm rot="16200000">
              <a:off x="4448502" y="5604322"/>
              <a:ext cx="851729" cy="533532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이등변 삼각형 18">
              <a:extLst>
                <a:ext uri="{FF2B5EF4-FFF2-40B4-BE49-F238E27FC236}">
                  <a16:creationId xmlns:a16="http://schemas.microsoft.com/office/drawing/2014/main" id="{24F8C723-694C-464E-AADB-E7F3E4AA33C6}"/>
                </a:ext>
              </a:extLst>
            </p:cNvPr>
            <p:cNvSpPr/>
            <p:nvPr/>
          </p:nvSpPr>
          <p:spPr>
            <a:xfrm rot="5400000">
              <a:off x="5823585" y="5604322"/>
              <a:ext cx="851729" cy="533532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25" name="이등변 삼각형 24">
              <a:extLst>
                <a:ext uri="{FF2B5EF4-FFF2-40B4-BE49-F238E27FC236}">
                  <a16:creationId xmlns:a16="http://schemas.microsoft.com/office/drawing/2014/main" id="{82D45A88-F65B-4A1A-9D3E-18C8579BB894}"/>
                </a:ext>
              </a:extLst>
            </p:cNvPr>
            <p:cNvSpPr/>
            <p:nvPr/>
          </p:nvSpPr>
          <p:spPr>
            <a:xfrm rot="10800000">
              <a:off x="5126598" y="6296953"/>
              <a:ext cx="851729" cy="533532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7031114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포토스팟에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캐릭터가 닿으면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인스타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스토리 기능을 보여줌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sp>
        <p:nvSpPr>
          <p:cNvPr id="27" name="직사각형 26">
            <a:extLst>
              <a:ext uri="{FF2B5EF4-FFF2-40B4-BE49-F238E27FC236}">
                <a16:creationId xmlns:a16="http://schemas.microsoft.com/office/drawing/2014/main" id="{48C43A67-0CB4-425B-9448-CD5185BFE12B}"/>
              </a:ext>
            </a:extLst>
          </p:cNvPr>
          <p:cNvSpPr/>
          <p:nvPr/>
        </p:nvSpPr>
        <p:spPr>
          <a:xfrm flipH="1" flipV="1">
            <a:off x="467544" y="2808534"/>
            <a:ext cx="6192688" cy="3212754"/>
          </a:xfrm>
          <a:prstGeom prst="rect">
            <a:avLst/>
          </a:prstGeom>
          <a:noFill/>
          <a:ln w="762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7621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가상세계서 공부하고 즐겨요&quot;…'메타버스' 올라탄 대학들 &lt; 에듀 &lt; 기사본문 - AI타임스">
            <a:extLst>
              <a:ext uri="{FF2B5EF4-FFF2-40B4-BE49-F238E27FC236}">
                <a16:creationId xmlns:a16="http://schemas.microsoft.com/office/drawing/2014/main" id="{175B1E3A-63A5-4651-A10E-2A943EC8D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324" y="1598004"/>
            <a:ext cx="6515627" cy="5088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0999196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21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메타버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메인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(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앱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스토리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grpSp>
        <p:nvGrpSpPr>
          <p:cNvPr id="9" name="그룹 8">
            <a:extLst>
              <a:ext uri="{FF2B5EF4-FFF2-40B4-BE49-F238E27FC236}">
                <a16:creationId xmlns:a16="http://schemas.microsoft.com/office/drawing/2014/main" id="{557DB0F5-AB15-426A-8AB2-8D6A31F0BFE3}"/>
              </a:ext>
            </a:extLst>
          </p:cNvPr>
          <p:cNvGrpSpPr/>
          <p:nvPr/>
        </p:nvGrpSpPr>
        <p:grpSpPr>
          <a:xfrm>
            <a:off x="5004048" y="5445224"/>
            <a:ext cx="1728192" cy="1241246"/>
            <a:chOff x="4572000" y="4797152"/>
            <a:chExt cx="1944216" cy="2033334"/>
          </a:xfrm>
        </p:grpSpPr>
        <p:sp>
          <p:nvSpPr>
            <p:cNvPr id="2" name="타원 1">
              <a:extLst>
                <a:ext uri="{FF2B5EF4-FFF2-40B4-BE49-F238E27FC236}">
                  <a16:creationId xmlns:a16="http://schemas.microsoft.com/office/drawing/2014/main" id="{A7CCD5EB-ADAB-41BE-91BF-3E4B055B299E}"/>
                </a:ext>
              </a:extLst>
            </p:cNvPr>
            <p:cNvSpPr/>
            <p:nvPr/>
          </p:nvSpPr>
          <p:spPr>
            <a:xfrm>
              <a:off x="4572000" y="4797152"/>
              <a:ext cx="1944216" cy="2033334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" name="이등변 삼각형 3">
              <a:extLst>
                <a:ext uri="{FF2B5EF4-FFF2-40B4-BE49-F238E27FC236}">
                  <a16:creationId xmlns:a16="http://schemas.microsoft.com/office/drawing/2014/main" id="{5B72A27B-EFA1-42E2-AE6A-D6534F7C5DB2}"/>
                </a:ext>
              </a:extLst>
            </p:cNvPr>
            <p:cNvSpPr/>
            <p:nvPr/>
          </p:nvSpPr>
          <p:spPr>
            <a:xfrm>
              <a:off x="5145487" y="4812784"/>
              <a:ext cx="864096" cy="632440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8" name="이등변 삼각형 17">
              <a:extLst>
                <a:ext uri="{FF2B5EF4-FFF2-40B4-BE49-F238E27FC236}">
                  <a16:creationId xmlns:a16="http://schemas.microsoft.com/office/drawing/2014/main" id="{5E5FE4CA-6F2C-424C-947C-B77EB91DB7DB}"/>
                </a:ext>
              </a:extLst>
            </p:cNvPr>
            <p:cNvSpPr/>
            <p:nvPr/>
          </p:nvSpPr>
          <p:spPr>
            <a:xfrm rot="16200000">
              <a:off x="4448502" y="5604322"/>
              <a:ext cx="851729" cy="533532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이등변 삼각형 18">
              <a:extLst>
                <a:ext uri="{FF2B5EF4-FFF2-40B4-BE49-F238E27FC236}">
                  <a16:creationId xmlns:a16="http://schemas.microsoft.com/office/drawing/2014/main" id="{24F8C723-694C-464E-AADB-E7F3E4AA33C6}"/>
                </a:ext>
              </a:extLst>
            </p:cNvPr>
            <p:cNvSpPr/>
            <p:nvPr/>
          </p:nvSpPr>
          <p:spPr>
            <a:xfrm rot="5400000">
              <a:off x="5823585" y="5604322"/>
              <a:ext cx="851729" cy="533532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25" name="이등변 삼각형 24">
              <a:extLst>
                <a:ext uri="{FF2B5EF4-FFF2-40B4-BE49-F238E27FC236}">
                  <a16:creationId xmlns:a16="http://schemas.microsoft.com/office/drawing/2014/main" id="{82D45A88-F65B-4A1A-9D3E-18C8579BB894}"/>
                </a:ext>
              </a:extLst>
            </p:cNvPr>
            <p:cNvSpPr/>
            <p:nvPr/>
          </p:nvSpPr>
          <p:spPr>
            <a:xfrm rot="10800000">
              <a:off x="5126598" y="6296953"/>
              <a:ext cx="851729" cy="533532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233821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포토스팟에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닿았을 시에 보여지는 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Like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인스타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스토리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sp>
        <p:nvSpPr>
          <p:cNvPr id="6" name="직사각형 5">
            <a:extLst>
              <a:ext uri="{FF2B5EF4-FFF2-40B4-BE49-F238E27FC236}">
                <a16:creationId xmlns:a16="http://schemas.microsoft.com/office/drawing/2014/main" id="{A479173F-3C36-4BCE-85F9-357685F35964}"/>
              </a:ext>
            </a:extLst>
          </p:cNvPr>
          <p:cNvSpPr/>
          <p:nvPr/>
        </p:nvSpPr>
        <p:spPr>
          <a:xfrm>
            <a:off x="225324" y="1598004"/>
            <a:ext cx="6515627" cy="5088466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876E8F69-EED8-43F6-BBB1-42BE105AC65E}"/>
              </a:ext>
            </a:extLst>
          </p:cNvPr>
          <p:cNvSpPr/>
          <p:nvPr/>
        </p:nvSpPr>
        <p:spPr>
          <a:xfrm>
            <a:off x="1835696" y="2400229"/>
            <a:ext cx="3312368" cy="3909091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27F4BA-82D2-4DD2-8146-1CC77B27BB69}"/>
              </a:ext>
            </a:extLst>
          </p:cNvPr>
          <p:cNvSpPr txBox="1"/>
          <p:nvPr/>
        </p:nvSpPr>
        <p:spPr>
          <a:xfrm>
            <a:off x="2051720" y="3789040"/>
            <a:ext cx="266429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6400" dirty="0">
                <a:solidFill>
                  <a:schemeClr val="bg1"/>
                </a:solidFill>
                <a:latin typeface="+mn-ea"/>
                <a:ea typeface="+mn-ea"/>
              </a:rPr>
              <a:t>이미지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21D2CDFE-D4CB-4A9E-AF64-9F1F1DC69818}"/>
              </a:ext>
            </a:extLst>
          </p:cNvPr>
          <p:cNvSpPr/>
          <p:nvPr/>
        </p:nvSpPr>
        <p:spPr>
          <a:xfrm>
            <a:off x="1259632" y="1772816"/>
            <a:ext cx="4536504" cy="25026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cxnSp>
        <p:nvCxnSpPr>
          <p:cNvPr id="15" name="직선 연결선 14">
            <a:extLst>
              <a:ext uri="{FF2B5EF4-FFF2-40B4-BE49-F238E27FC236}">
                <a16:creationId xmlns:a16="http://schemas.microsoft.com/office/drawing/2014/main" id="{F625FD2F-676E-4862-A571-4C573B6D3A6B}"/>
              </a:ext>
            </a:extLst>
          </p:cNvPr>
          <p:cNvCxnSpPr/>
          <p:nvPr/>
        </p:nvCxnSpPr>
        <p:spPr>
          <a:xfrm>
            <a:off x="2627784" y="1797338"/>
            <a:ext cx="0" cy="22574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449DE60C-857E-4867-9E8D-E504E84B8FA4}"/>
              </a:ext>
            </a:extLst>
          </p:cNvPr>
          <p:cNvCxnSpPr/>
          <p:nvPr/>
        </p:nvCxnSpPr>
        <p:spPr>
          <a:xfrm>
            <a:off x="4283968" y="1797338"/>
            <a:ext cx="0" cy="22574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32826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2119234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조언을 열심히 해준 선배들의 랭킹을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정해놓은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화면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9468027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32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선배의 뜨끈한 조언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HOT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한 선배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랭킹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2" name="직사각형 1">
            <a:extLst>
              <a:ext uri="{FF2B5EF4-FFF2-40B4-BE49-F238E27FC236}">
                <a16:creationId xmlns:a16="http://schemas.microsoft.com/office/drawing/2014/main" id="{97F50574-5DB7-4FAB-A1EC-9C4E1770C89D}"/>
              </a:ext>
            </a:extLst>
          </p:cNvPr>
          <p:cNvSpPr/>
          <p:nvPr/>
        </p:nvSpPr>
        <p:spPr>
          <a:xfrm>
            <a:off x="225324" y="1533049"/>
            <a:ext cx="6506916" cy="527799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4508737-FB8C-4A6F-8094-833F1C854170}"/>
              </a:ext>
            </a:extLst>
          </p:cNvPr>
          <p:cNvSpPr txBox="1"/>
          <p:nvPr/>
        </p:nvSpPr>
        <p:spPr>
          <a:xfrm>
            <a:off x="1807688" y="1607412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</a:rPr>
              <a:t>랭킹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1F37C20-2AF5-4718-ACCE-FEB99799D52A}"/>
              </a:ext>
            </a:extLst>
          </p:cNvPr>
          <p:cNvSpPr txBox="1"/>
          <p:nvPr/>
        </p:nvSpPr>
        <p:spPr>
          <a:xfrm>
            <a:off x="2825635" y="1607412"/>
            <a:ext cx="1147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선배 목록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BD608D-582C-490B-BB95-4CA20E63AC08}"/>
              </a:ext>
            </a:extLst>
          </p:cNvPr>
          <p:cNvSpPr txBox="1"/>
          <p:nvPr/>
        </p:nvSpPr>
        <p:spPr>
          <a:xfrm>
            <a:off x="4419968" y="1621661"/>
            <a:ext cx="10205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글 쓰기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2A83433C-35DB-4E26-90ED-336A1DDB1945}"/>
              </a:ext>
            </a:extLst>
          </p:cNvPr>
          <p:cNvSpPr/>
          <p:nvPr/>
        </p:nvSpPr>
        <p:spPr>
          <a:xfrm flipV="1">
            <a:off x="1534131" y="1433406"/>
            <a:ext cx="1147476" cy="73013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6" name="타원 5">
            <a:extLst>
              <a:ext uri="{FF2B5EF4-FFF2-40B4-BE49-F238E27FC236}">
                <a16:creationId xmlns:a16="http://schemas.microsoft.com/office/drawing/2014/main" id="{C384FB32-4800-4559-BE4F-5641786CFF11}"/>
              </a:ext>
            </a:extLst>
          </p:cNvPr>
          <p:cNvSpPr/>
          <p:nvPr/>
        </p:nvSpPr>
        <p:spPr>
          <a:xfrm>
            <a:off x="1459797" y="2392661"/>
            <a:ext cx="1296144" cy="1224136"/>
          </a:xfrm>
          <a:prstGeom prst="ellipse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17" name="타원 16">
            <a:extLst>
              <a:ext uri="{FF2B5EF4-FFF2-40B4-BE49-F238E27FC236}">
                <a16:creationId xmlns:a16="http://schemas.microsoft.com/office/drawing/2014/main" id="{D92EF6E3-1963-4BE5-85D8-2D6BDB7A544B}"/>
              </a:ext>
            </a:extLst>
          </p:cNvPr>
          <p:cNvSpPr/>
          <p:nvPr/>
        </p:nvSpPr>
        <p:spPr>
          <a:xfrm>
            <a:off x="1459797" y="3995560"/>
            <a:ext cx="1296144" cy="1224136"/>
          </a:xfrm>
          <a:prstGeom prst="ellipse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18" name="타원 17">
            <a:extLst>
              <a:ext uri="{FF2B5EF4-FFF2-40B4-BE49-F238E27FC236}">
                <a16:creationId xmlns:a16="http://schemas.microsoft.com/office/drawing/2014/main" id="{7C2F9C46-C426-413C-8C2C-AB9A322CE07E}"/>
              </a:ext>
            </a:extLst>
          </p:cNvPr>
          <p:cNvSpPr/>
          <p:nvPr/>
        </p:nvSpPr>
        <p:spPr>
          <a:xfrm>
            <a:off x="1469597" y="5448816"/>
            <a:ext cx="1296144" cy="1224136"/>
          </a:xfrm>
          <a:prstGeom prst="ellipse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F695012-012D-4125-9E0E-E2830B8D5CDA}"/>
              </a:ext>
            </a:extLst>
          </p:cNvPr>
          <p:cNvSpPr txBox="1"/>
          <p:nvPr/>
        </p:nvSpPr>
        <p:spPr>
          <a:xfrm>
            <a:off x="466039" y="2071101"/>
            <a:ext cx="86409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0" dirty="0">
                <a:latin typeface="+mn-ea"/>
                <a:ea typeface="+mn-ea"/>
              </a:rPr>
              <a:t>1</a:t>
            </a:r>
            <a:endParaRPr lang="ko-KR" altLang="en-US" sz="12000" dirty="0">
              <a:latin typeface="+mn-ea"/>
              <a:ea typeface="+mn-ea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E67183B-77C2-4832-B9D6-2DDB294D542A}"/>
              </a:ext>
            </a:extLst>
          </p:cNvPr>
          <p:cNvSpPr txBox="1"/>
          <p:nvPr/>
        </p:nvSpPr>
        <p:spPr>
          <a:xfrm>
            <a:off x="437916" y="3641537"/>
            <a:ext cx="86409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0" dirty="0">
                <a:latin typeface="+mn-ea"/>
              </a:rPr>
              <a:t>2</a:t>
            </a:r>
            <a:endParaRPr lang="ko-KR" altLang="en-US" sz="12000" dirty="0">
              <a:latin typeface="+mn-ea"/>
              <a:ea typeface="+mn-ea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501539D-95DC-4F9C-9E6A-988C84C7BC0B}"/>
              </a:ext>
            </a:extLst>
          </p:cNvPr>
          <p:cNvSpPr txBox="1"/>
          <p:nvPr/>
        </p:nvSpPr>
        <p:spPr>
          <a:xfrm>
            <a:off x="426713" y="5105905"/>
            <a:ext cx="86409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0" dirty="0">
                <a:latin typeface="+mn-ea"/>
              </a:rPr>
              <a:t>3</a:t>
            </a:r>
            <a:endParaRPr lang="ko-KR" altLang="en-US" sz="12000" dirty="0">
              <a:latin typeface="+mn-ea"/>
              <a:ea typeface="+mn-ea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3829153-E057-4F37-BC3C-44E0D53FDBAB}"/>
              </a:ext>
            </a:extLst>
          </p:cNvPr>
          <p:cNvSpPr txBox="1"/>
          <p:nvPr/>
        </p:nvSpPr>
        <p:spPr>
          <a:xfrm>
            <a:off x="2825635" y="2492896"/>
            <a:ext cx="33305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</a:rPr>
              <a:t>이름</a:t>
            </a:r>
            <a:r>
              <a:rPr lang="en-US" altLang="ko-KR" dirty="0">
                <a:latin typeface="+mn-ea"/>
              </a:rPr>
              <a:t>: O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936F2D7-5786-423C-B6CE-B16CC9F6C47C}"/>
              </a:ext>
            </a:extLst>
          </p:cNvPr>
          <p:cNvSpPr txBox="1"/>
          <p:nvPr/>
        </p:nvSpPr>
        <p:spPr>
          <a:xfrm>
            <a:off x="2906729" y="3029378"/>
            <a:ext cx="33305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>
                <a:latin typeface="+mn-ea"/>
              </a:rPr>
              <a:t>뜨끈</a:t>
            </a:r>
            <a:r>
              <a:rPr lang="ko-KR" altLang="en-US" dirty="0">
                <a:latin typeface="+mn-ea"/>
              </a:rPr>
              <a:t> 점수</a:t>
            </a:r>
            <a:r>
              <a:rPr lang="en-US" altLang="ko-KR" dirty="0">
                <a:latin typeface="+mn-ea"/>
              </a:rPr>
              <a:t>: O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B3BE9DA-8DEC-4225-9115-6900A9CEDC68}"/>
              </a:ext>
            </a:extLst>
          </p:cNvPr>
          <p:cNvSpPr txBox="1"/>
          <p:nvPr/>
        </p:nvSpPr>
        <p:spPr>
          <a:xfrm>
            <a:off x="2754697" y="4084167"/>
            <a:ext cx="33305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</a:rPr>
              <a:t>이름</a:t>
            </a:r>
            <a:r>
              <a:rPr lang="en-US" altLang="ko-KR" dirty="0">
                <a:latin typeface="+mn-ea"/>
              </a:rPr>
              <a:t>: O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2D46094-408F-4BC3-98BE-C504E92608D0}"/>
              </a:ext>
            </a:extLst>
          </p:cNvPr>
          <p:cNvSpPr txBox="1"/>
          <p:nvPr/>
        </p:nvSpPr>
        <p:spPr>
          <a:xfrm>
            <a:off x="2835791" y="4620649"/>
            <a:ext cx="33305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>
                <a:latin typeface="+mn-ea"/>
              </a:rPr>
              <a:t>뜨끈</a:t>
            </a:r>
            <a:r>
              <a:rPr lang="ko-KR" altLang="en-US" dirty="0">
                <a:latin typeface="+mn-ea"/>
              </a:rPr>
              <a:t> 점수</a:t>
            </a:r>
            <a:r>
              <a:rPr lang="en-US" altLang="ko-KR" dirty="0">
                <a:latin typeface="+mn-ea"/>
              </a:rPr>
              <a:t>: O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6F1D17C-DFE0-4557-B1CB-DDC842909863}"/>
              </a:ext>
            </a:extLst>
          </p:cNvPr>
          <p:cNvSpPr txBox="1"/>
          <p:nvPr/>
        </p:nvSpPr>
        <p:spPr>
          <a:xfrm>
            <a:off x="2735943" y="5589240"/>
            <a:ext cx="33305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</a:rPr>
              <a:t>이름</a:t>
            </a:r>
            <a:r>
              <a:rPr lang="en-US" altLang="ko-KR" dirty="0">
                <a:latin typeface="+mn-ea"/>
              </a:rPr>
              <a:t>: O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A805CCF-D918-4136-B58C-9F82078108FB}"/>
              </a:ext>
            </a:extLst>
          </p:cNvPr>
          <p:cNvSpPr txBox="1"/>
          <p:nvPr/>
        </p:nvSpPr>
        <p:spPr>
          <a:xfrm>
            <a:off x="2817037" y="6125722"/>
            <a:ext cx="33305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>
                <a:latin typeface="+mn-ea"/>
              </a:rPr>
              <a:t>뜨끈</a:t>
            </a:r>
            <a:r>
              <a:rPr lang="ko-KR" altLang="en-US" dirty="0">
                <a:latin typeface="+mn-ea"/>
              </a:rPr>
              <a:t> 점수</a:t>
            </a:r>
            <a:r>
              <a:rPr lang="en-US" altLang="ko-KR" dirty="0">
                <a:latin typeface="+mn-ea"/>
              </a:rPr>
              <a:t>: OOO</a:t>
            </a:r>
            <a:endParaRPr lang="ko-KR" altLang="en-US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491829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4297961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여러 선배들의 목록을 확인하는 화면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8602540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33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선배의 뜨끈한 조언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선배들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2" name="직사각형 1">
            <a:extLst>
              <a:ext uri="{FF2B5EF4-FFF2-40B4-BE49-F238E27FC236}">
                <a16:creationId xmlns:a16="http://schemas.microsoft.com/office/drawing/2014/main" id="{97F50574-5DB7-4FAB-A1EC-9C4E1770C89D}"/>
              </a:ext>
            </a:extLst>
          </p:cNvPr>
          <p:cNvSpPr/>
          <p:nvPr/>
        </p:nvSpPr>
        <p:spPr>
          <a:xfrm>
            <a:off x="225324" y="1533049"/>
            <a:ext cx="6506916" cy="527799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4508737-FB8C-4A6F-8094-833F1C854170}"/>
              </a:ext>
            </a:extLst>
          </p:cNvPr>
          <p:cNvSpPr txBox="1"/>
          <p:nvPr/>
        </p:nvSpPr>
        <p:spPr>
          <a:xfrm>
            <a:off x="1807688" y="1607412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</a:rPr>
              <a:t>랭킹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1F37C20-2AF5-4718-ACCE-FEB99799D52A}"/>
              </a:ext>
            </a:extLst>
          </p:cNvPr>
          <p:cNvSpPr txBox="1"/>
          <p:nvPr/>
        </p:nvSpPr>
        <p:spPr>
          <a:xfrm>
            <a:off x="2825635" y="1607412"/>
            <a:ext cx="1147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선배 목록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BD608D-582C-490B-BB95-4CA20E63AC08}"/>
              </a:ext>
            </a:extLst>
          </p:cNvPr>
          <p:cNvSpPr txBox="1"/>
          <p:nvPr/>
        </p:nvSpPr>
        <p:spPr>
          <a:xfrm>
            <a:off x="4419968" y="1621661"/>
            <a:ext cx="10205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글 쓰기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2A83433C-35DB-4E26-90ED-336A1DDB1945}"/>
              </a:ext>
            </a:extLst>
          </p:cNvPr>
          <p:cNvSpPr/>
          <p:nvPr/>
        </p:nvSpPr>
        <p:spPr>
          <a:xfrm flipV="1">
            <a:off x="2825635" y="1497578"/>
            <a:ext cx="1147476" cy="59569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9" name="타원 8">
            <a:extLst>
              <a:ext uri="{FF2B5EF4-FFF2-40B4-BE49-F238E27FC236}">
                <a16:creationId xmlns:a16="http://schemas.microsoft.com/office/drawing/2014/main" id="{FDD6FE65-371B-478C-A0BD-432FF44A1948}"/>
              </a:ext>
            </a:extLst>
          </p:cNvPr>
          <p:cNvSpPr/>
          <p:nvPr/>
        </p:nvSpPr>
        <p:spPr>
          <a:xfrm>
            <a:off x="467544" y="2189913"/>
            <a:ext cx="1224136" cy="1278314"/>
          </a:xfrm>
          <a:prstGeom prst="ellipse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35E26AD-06EC-4797-9F55-D7BBF9F08119}"/>
              </a:ext>
            </a:extLst>
          </p:cNvPr>
          <p:cNvSpPr txBox="1"/>
          <p:nvPr/>
        </p:nvSpPr>
        <p:spPr>
          <a:xfrm>
            <a:off x="1771743" y="2217917"/>
            <a:ext cx="1627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이름</a:t>
            </a:r>
            <a:r>
              <a:rPr lang="en-US" altLang="ko-KR" dirty="0">
                <a:latin typeface="+mn-ea"/>
                <a:ea typeface="+mn-ea"/>
              </a:rPr>
              <a:t>: O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45DB515-3D9C-4385-B4D5-0C7A29049478}"/>
              </a:ext>
            </a:extLst>
          </p:cNvPr>
          <p:cNvSpPr txBox="1"/>
          <p:nvPr/>
        </p:nvSpPr>
        <p:spPr>
          <a:xfrm>
            <a:off x="1815257" y="2808534"/>
            <a:ext cx="1627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스택</a:t>
            </a:r>
            <a:r>
              <a:rPr lang="en-US" altLang="ko-KR" dirty="0">
                <a:latin typeface="+mn-ea"/>
                <a:ea typeface="+mn-ea"/>
              </a:rPr>
              <a:t>: </a:t>
            </a:r>
            <a:r>
              <a:rPr lang="en-US" altLang="ko-KR" dirty="0">
                <a:latin typeface="+mn-ea"/>
              </a:rPr>
              <a:t>O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32" name="타원 31">
            <a:extLst>
              <a:ext uri="{FF2B5EF4-FFF2-40B4-BE49-F238E27FC236}">
                <a16:creationId xmlns:a16="http://schemas.microsoft.com/office/drawing/2014/main" id="{EEAA2D0C-3BB6-4B1B-944B-7DCEDACE0043}"/>
              </a:ext>
            </a:extLst>
          </p:cNvPr>
          <p:cNvSpPr/>
          <p:nvPr/>
        </p:nvSpPr>
        <p:spPr>
          <a:xfrm>
            <a:off x="467544" y="3688188"/>
            <a:ext cx="1224136" cy="1278314"/>
          </a:xfrm>
          <a:prstGeom prst="ellipse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EAAE598-77D8-41FB-A8E9-7C9435015B43}"/>
              </a:ext>
            </a:extLst>
          </p:cNvPr>
          <p:cNvSpPr txBox="1"/>
          <p:nvPr/>
        </p:nvSpPr>
        <p:spPr>
          <a:xfrm>
            <a:off x="1771743" y="3716192"/>
            <a:ext cx="1627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이름</a:t>
            </a:r>
            <a:r>
              <a:rPr lang="en-US" altLang="ko-KR" dirty="0">
                <a:latin typeface="+mn-ea"/>
                <a:ea typeface="+mn-ea"/>
              </a:rPr>
              <a:t>: O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2904944-E942-4F16-904F-426D644050B1}"/>
              </a:ext>
            </a:extLst>
          </p:cNvPr>
          <p:cNvSpPr txBox="1"/>
          <p:nvPr/>
        </p:nvSpPr>
        <p:spPr>
          <a:xfrm>
            <a:off x="1815257" y="4306809"/>
            <a:ext cx="1627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스택</a:t>
            </a:r>
            <a:r>
              <a:rPr lang="en-US" altLang="ko-KR" dirty="0">
                <a:latin typeface="+mn-ea"/>
                <a:ea typeface="+mn-ea"/>
              </a:rPr>
              <a:t>: </a:t>
            </a:r>
            <a:r>
              <a:rPr lang="en-US" altLang="ko-KR" dirty="0">
                <a:latin typeface="+mn-ea"/>
              </a:rPr>
              <a:t>O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35" name="타원 34">
            <a:extLst>
              <a:ext uri="{FF2B5EF4-FFF2-40B4-BE49-F238E27FC236}">
                <a16:creationId xmlns:a16="http://schemas.microsoft.com/office/drawing/2014/main" id="{EB16EC09-0814-4294-A55C-2DD8E6A75722}"/>
              </a:ext>
            </a:extLst>
          </p:cNvPr>
          <p:cNvSpPr/>
          <p:nvPr/>
        </p:nvSpPr>
        <p:spPr>
          <a:xfrm>
            <a:off x="467544" y="5193449"/>
            <a:ext cx="1224136" cy="1278314"/>
          </a:xfrm>
          <a:prstGeom prst="ellipse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05896FB-0A17-4E42-8457-5466422C9F85}"/>
              </a:ext>
            </a:extLst>
          </p:cNvPr>
          <p:cNvSpPr txBox="1"/>
          <p:nvPr/>
        </p:nvSpPr>
        <p:spPr>
          <a:xfrm>
            <a:off x="1771743" y="5221453"/>
            <a:ext cx="1627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이름</a:t>
            </a:r>
            <a:r>
              <a:rPr lang="en-US" altLang="ko-KR" dirty="0">
                <a:latin typeface="+mn-ea"/>
                <a:ea typeface="+mn-ea"/>
              </a:rPr>
              <a:t>: O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6C48F90-CD92-42B7-A98A-798207554CB5}"/>
              </a:ext>
            </a:extLst>
          </p:cNvPr>
          <p:cNvSpPr txBox="1"/>
          <p:nvPr/>
        </p:nvSpPr>
        <p:spPr>
          <a:xfrm>
            <a:off x="1815257" y="5812070"/>
            <a:ext cx="1627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스택</a:t>
            </a:r>
            <a:r>
              <a:rPr lang="en-US" altLang="ko-KR" dirty="0">
                <a:latin typeface="+mn-ea"/>
                <a:ea typeface="+mn-ea"/>
              </a:rPr>
              <a:t>: </a:t>
            </a:r>
            <a:r>
              <a:rPr lang="en-US" altLang="ko-KR" dirty="0">
                <a:latin typeface="+mn-ea"/>
              </a:rPr>
              <a:t>OOO</a:t>
            </a:r>
            <a:endParaRPr lang="ko-KR" altLang="en-US" dirty="0">
              <a:latin typeface="+mn-ea"/>
              <a:ea typeface="+mn-ea"/>
            </a:endParaRP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F9FFAA01-A8EE-465F-999C-0F15EEBF88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4308" y="2144989"/>
            <a:ext cx="837606" cy="870933"/>
          </a:xfrm>
          <a:prstGeom prst="rect">
            <a:avLst/>
          </a:prstGeom>
        </p:spPr>
      </p:pic>
      <p:pic>
        <p:nvPicPr>
          <p:cNvPr id="38" name="그림 37">
            <a:extLst>
              <a:ext uri="{FF2B5EF4-FFF2-40B4-BE49-F238E27FC236}">
                <a16:creationId xmlns:a16="http://schemas.microsoft.com/office/drawing/2014/main" id="{3BB7F70F-7DC6-4088-8496-0B66470350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4308" y="3767715"/>
            <a:ext cx="837606" cy="870933"/>
          </a:xfrm>
          <a:prstGeom prst="rect">
            <a:avLst/>
          </a:prstGeom>
        </p:spPr>
      </p:pic>
      <p:pic>
        <p:nvPicPr>
          <p:cNvPr id="39" name="그림 38">
            <a:extLst>
              <a:ext uri="{FF2B5EF4-FFF2-40B4-BE49-F238E27FC236}">
                <a16:creationId xmlns:a16="http://schemas.microsoft.com/office/drawing/2014/main" id="{7DE4BB31-CBEB-4F67-9A19-FC3265354A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4308" y="5250953"/>
            <a:ext cx="837606" cy="870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6652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5555179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처음에 보여지는 화면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4095236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35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선배의 뜨끈한 조언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진로에 따른 선배의 조언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12" name="직사각형 11">
            <a:extLst>
              <a:ext uri="{FF2B5EF4-FFF2-40B4-BE49-F238E27FC236}">
                <a16:creationId xmlns:a16="http://schemas.microsoft.com/office/drawing/2014/main" id="{01F9ECA5-172C-46E2-866B-68E21C1287B6}"/>
              </a:ext>
            </a:extLst>
          </p:cNvPr>
          <p:cNvSpPr/>
          <p:nvPr/>
        </p:nvSpPr>
        <p:spPr>
          <a:xfrm>
            <a:off x="225324" y="1533049"/>
            <a:ext cx="6506916" cy="527799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6556E0E-84DA-4F20-833F-632443ED71FD}"/>
              </a:ext>
            </a:extLst>
          </p:cNvPr>
          <p:cNvSpPr txBox="1"/>
          <p:nvPr/>
        </p:nvSpPr>
        <p:spPr>
          <a:xfrm>
            <a:off x="1807688" y="1607412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</a:rPr>
              <a:t>랭킹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54C4309-8F4E-41DA-B18D-54517B43C8C7}"/>
              </a:ext>
            </a:extLst>
          </p:cNvPr>
          <p:cNvSpPr txBox="1"/>
          <p:nvPr/>
        </p:nvSpPr>
        <p:spPr>
          <a:xfrm>
            <a:off x="2825635" y="1607412"/>
            <a:ext cx="1147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선배 목록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A66251-74A7-49D8-A7DF-93F135675E36}"/>
              </a:ext>
            </a:extLst>
          </p:cNvPr>
          <p:cNvSpPr txBox="1"/>
          <p:nvPr/>
        </p:nvSpPr>
        <p:spPr>
          <a:xfrm>
            <a:off x="4419968" y="1621661"/>
            <a:ext cx="10205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글 쓰기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616E6B3F-B6DE-4C41-A4E2-D974E8591542}"/>
              </a:ext>
            </a:extLst>
          </p:cNvPr>
          <p:cNvSpPr/>
          <p:nvPr/>
        </p:nvSpPr>
        <p:spPr>
          <a:xfrm flipV="1">
            <a:off x="4305817" y="1499101"/>
            <a:ext cx="1147476" cy="59569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10588D-B45D-4436-8C9D-BEA0B7AEB5F2}"/>
              </a:ext>
            </a:extLst>
          </p:cNvPr>
          <p:cNvSpPr txBox="1"/>
          <p:nvPr/>
        </p:nvSpPr>
        <p:spPr>
          <a:xfrm>
            <a:off x="323528" y="2260314"/>
            <a:ext cx="44689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공기업 가는 </a:t>
            </a:r>
            <a:r>
              <a:rPr lang="ko-KR" altLang="en-US" dirty="0" err="1">
                <a:latin typeface="+mn-ea"/>
                <a:ea typeface="+mn-ea"/>
              </a:rPr>
              <a:t>꿀팁</a:t>
            </a:r>
            <a:r>
              <a:rPr lang="ko-KR" altLang="en-US" dirty="0">
                <a:latin typeface="+mn-ea"/>
                <a:ea typeface="+mn-ea"/>
              </a:rPr>
              <a:t> 방출한다</a:t>
            </a:r>
            <a:r>
              <a:rPr lang="en-US" altLang="ko-KR" dirty="0">
                <a:latin typeface="+mn-ea"/>
                <a:ea typeface="+mn-ea"/>
              </a:rPr>
              <a:t>.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6DA2DBC7-7031-4337-A167-58EE4AC73AA4}"/>
              </a:ext>
            </a:extLst>
          </p:cNvPr>
          <p:cNvCxnSpPr/>
          <p:nvPr/>
        </p:nvCxnSpPr>
        <p:spPr>
          <a:xfrm>
            <a:off x="211170" y="2808534"/>
            <a:ext cx="652107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60565A04-E7D2-4E5B-BDB7-5CAF5C6346A1}"/>
              </a:ext>
            </a:extLst>
          </p:cNvPr>
          <p:cNvSpPr txBox="1"/>
          <p:nvPr/>
        </p:nvSpPr>
        <p:spPr>
          <a:xfrm>
            <a:off x="3093010" y="2481020"/>
            <a:ext cx="13269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조회수</a:t>
            </a:r>
            <a:r>
              <a:rPr lang="en-US" altLang="ko-KR" dirty="0">
                <a:latin typeface="+mn-ea"/>
                <a:ea typeface="+mn-ea"/>
              </a:rPr>
              <a:t>: </a:t>
            </a:r>
            <a:r>
              <a:rPr lang="en-US" altLang="ko-KR" dirty="0">
                <a:latin typeface="+mn-ea"/>
              </a:rPr>
              <a:t>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AEDA631-6AB7-4584-9D70-30B0CA9FBA26}"/>
              </a:ext>
            </a:extLst>
          </p:cNvPr>
          <p:cNvSpPr txBox="1"/>
          <p:nvPr/>
        </p:nvSpPr>
        <p:spPr>
          <a:xfrm>
            <a:off x="4572000" y="2460856"/>
            <a:ext cx="13269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댓글</a:t>
            </a:r>
            <a:r>
              <a:rPr lang="en-US" altLang="ko-KR" dirty="0">
                <a:latin typeface="+mn-ea"/>
                <a:ea typeface="+mn-ea"/>
              </a:rPr>
              <a:t>: 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676E0C3-BCCB-438D-9F58-911D2F4818B8}"/>
              </a:ext>
            </a:extLst>
          </p:cNvPr>
          <p:cNvSpPr txBox="1"/>
          <p:nvPr/>
        </p:nvSpPr>
        <p:spPr>
          <a:xfrm>
            <a:off x="323528" y="2973926"/>
            <a:ext cx="44689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>
                <a:latin typeface="+mn-ea"/>
                <a:ea typeface="+mn-ea"/>
              </a:rPr>
              <a:t>코테</a:t>
            </a:r>
            <a:r>
              <a:rPr lang="ko-KR" altLang="en-US" dirty="0">
                <a:latin typeface="+mn-ea"/>
                <a:ea typeface="+mn-ea"/>
              </a:rPr>
              <a:t> </a:t>
            </a:r>
            <a:r>
              <a:rPr lang="ko-KR" altLang="en-US" dirty="0" err="1">
                <a:latin typeface="+mn-ea"/>
                <a:ea typeface="+mn-ea"/>
              </a:rPr>
              <a:t>요로케</a:t>
            </a:r>
            <a:r>
              <a:rPr lang="ko-KR" altLang="en-US" dirty="0">
                <a:latin typeface="+mn-ea"/>
                <a:ea typeface="+mn-ea"/>
              </a:rPr>
              <a:t> 준비 하자</a:t>
            </a:r>
            <a:r>
              <a:rPr lang="en-US" altLang="ko-KR" dirty="0">
                <a:latin typeface="+mn-ea"/>
                <a:ea typeface="+mn-ea"/>
              </a:rPr>
              <a:t>!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CA1E5E9C-A61F-4640-8619-F484D2FC3847}"/>
              </a:ext>
            </a:extLst>
          </p:cNvPr>
          <p:cNvCxnSpPr/>
          <p:nvPr/>
        </p:nvCxnSpPr>
        <p:spPr>
          <a:xfrm>
            <a:off x="211170" y="3522146"/>
            <a:ext cx="652107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75726120-99B0-4CB5-88D9-AEBF176C81C8}"/>
              </a:ext>
            </a:extLst>
          </p:cNvPr>
          <p:cNvSpPr txBox="1"/>
          <p:nvPr/>
        </p:nvSpPr>
        <p:spPr>
          <a:xfrm>
            <a:off x="3093010" y="3194632"/>
            <a:ext cx="13269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조회수</a:t>
            </a:r>
            <a:r>
              <a:rPr lang="en-US" altLang="ko-KR" dirty="0">
                <a:latin typeface="+mn-ea"/>
                <a:ea typeface="+mn-ea"/>
              </a:rPr>
              <a:t>: </a:t>
            </a:r>
            <a:r>
              <a:rPr lang="en-US" altLang="ko-KR" dirty="0">
                <a:latin typeface="+mn-ea"/>
              </a:rPr>
              <a:t>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DCE33C9-2FAF-4E45-AA76-7EBCD0414137}"/>
              </a:ext>
            </a:extLst>
          </p:cNvPr>
          <p:cNvSpPr txBox="1"/>
          <p:nvPr/>
        </p:nvSpPr>
        <p:spPr>
          <a:xfrm>
            <a:off x="4572000" y="3174468"/>
            <a:ext cx="13269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댓글</a:t>
            </a:r>
            <a:r>
              <a:rPr lang="en-US" altLang="ko-KR" dirty="0">
                <a:latin typeface="+mn-ea"/>
                <a:ea typeface="+mn-ea"/>
              </a:rPr>
              <a:t>: 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B93DCC0-7268-4ED3-89B6-3F743208BAA9}"/>
              </a:ext>
            </a:extLst>
          </p:cNvPr>
          <p:cNvSpPr txBox="1"/>
          <p:nvPr/>
        </p:nvSpPr>
        <p:spPr>
          <a:xfrm>
            <a:off x="337682" y="3679222"/>
            <a:ext cx="44689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스펙 쌓는 법 </a:t>
            </a:r>
            <a:r>
              <a:rPr lang="en-US" altLang="ko-KR" dirty="0">
                <a:latin typeface="+mn-ea"/>
                <a:ea typeface="+mn-ea"/>
              </a:rPr>
              <a:t>5</a:t>
            </a:r>
            <a:r>
              <a:rPr lang="ko-KR" altLang="en-US" dirty="0">
                <a:latin typeface="+mn-ea"/>
                <a:ea typeface="+mn-ea"/>
              </a:rPr>
              <a:t>분 강의 </a:t>
            </a:r>
            <a:r>
              <a:rPr lang="ko-KR" altLang="en-US" dirty="0" err="1">
                <a:latin typeface="+mn-ea"/>
                <a:ea typeface="+mn-ea"/>
              </a:rPr>
              <a:t>드간다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A9AEF180-28CF-4BCE-AE7D-18B2325B0BB6}"/>
              </a:ext>
            </a:extLst>
          </p:cNvPr>
          <p:cNvCxnSpPr/>
          <p:nvPr/>
        </p:nvCxnSpPr>
        <p:spPr>
          <a:xfrm>
            <a:off x="225324" y="4227442"/>
            <a:ext cx="652107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80E001B8-961C-48F3-8337-AF7441162390}"/>
              </a:ext>
            </a:extLst>
          </p:cNvPr>
          <p:cNvSpPr txBox="1"/>
          <p:nvPr/>
        </p:nvSpPr>
        <p:spPr>
          <a:xfrm>
            <a:off x="3107164" y="3899928"/>
            <a:ext cx="13269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조회수</a:t>
            </a:r>
            <a:r>
              <a:rPr lang="en-US" altLang="ko-KR" dirty="0">
                <a:latin typeface="+mn-ea"/>
                <a:ea typeface="+mn-ea"/>
              </a:rPr>
              <a:t>: </a:t>
            </a:r>
            <a:r>
              <a:rPr lang="en-US" altLang="ko-KR" dirty="0">
                <a:latin typeface="+mn-ea"/>
              </a:rPr>
              <a:t>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8B8A5AA-8678-4F5C-BC88-E84A49FD65C9}"/>
              </a:ext>
            </a:extLst>
          </p:cNvPr>
          <p:cNvSpPr txBox="1"/>
          <p:nvPr/>
        </p:nvSpPr>
        <p:spPr>
          <a:xfrm>
            <a:off x="4586154" y="3879764"/>
            <a:ext cx="13269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댓글</a:t>
            </a:r>
            <a:r>
              <a:rPr lang="en-US" altLang="ko-KR" dirty="0">
                <a:latin typeface="+mn-ea"/>
                <a:ea typeface="+mn-ea"/>
              </a:rPr>
              <a:t>: OO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9" name="연결선: 구부러짐 8">
            <a:extLst>
              <a:ext uri="{FF2B5EF4-FFF2-40B4-BE49-F238E27FC236}">
                <a16:creationId xmlns:a16="http://schemas.microsoft.com/office/drawing/2014/main" id="{CD9F3F05-4053-4C0C-9788-54937CDF3A03}"/>
              </a:ext>
            </a:extLst>
          </p:cNvPr>
          <p:cNvCxnSpPr>
            <a:cxnSpLocks/>
          </p:cNvCxnSpPr>
          <p:nvPr/>
        </p:nvCxnSpPr>
        <p:spPr>
          <a:xfrm rot="16200000" flipH="1">
            <a:off x="2390598" y="5322370"/>
            <a:ext cx="2130557" cy="360040"/>
          </a:xfrm>
          <a:prstGeom prst="curvedConnector3">
            <a:avLst/>
          </a:prstGeom>
          <a:ln w="381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61801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2831696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여타 커뮤니티와 같은 글쓰기 방식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443537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34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선배의 뜨끈한 조언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글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그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2" name="직사각형 1">
            <a:extLst>
              <a:ext uri="{FF2B5EF4-FFF2-40B4-BE49-F238E27FC236}">
                <a16:creationId xmlns:a16="http://schemas.microsoft.com/office/drawing/2014/main" id="{97F50574-5DB7-4FAB-A1EC-9C4E1770C89D}"/>
              </a:ext>
            </a:extLst>
          </p:cNvPr>
          <p:cNvSpPr/>
          <p:nvPr/>
        </p:nvSpPr>
        <p:spPr>
          <a:xfrm>
            <a:off x="225324" y="1533049"/>
            <a:ext cx="6506916" cy="527799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4508737-FB8C-4A6F-8094-833F1C854170}"/>
              </a:ext>
            </a:extLst>
          </p:cNvPr>
          <p:cNvSpPr txBox="1"/>
          <p:nvPr/>
        </p:nvSpPr>
        <p:spPr>
          <a:xfrm>
            <a:off x="1807688" y="1607412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</a:rPr>
              <a:t>랭킹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1F37C20-2AF5-4718-ACCE-FEB99799D52A}"/>
              </a:ext>
            </a:extLst>
          </p:cNvPr>
          <p:cNvSpPr txBox="1"/>
          <p:nvPr/>
        </p:nvSpPr>
        <p:spPr>
          <a:xfrm>
            <a:off x="2825635" y="1607412"/>
            <a:ext cx="1147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선배 목록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BD608D-582C-490B-BB95-4CA20E63AC08}"/>
              </a:ext>
            </a:extLst>
          </p:cNvPr>
          <p:cNvSpPr txBox="1"/>
          <p:nvPr/>
        </p:nvSpPr>
        <p:spPr>
          <a:xfrm>
            <a:off x="4419968" y="1621661"/>
            <a:ext cx="10205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글 쓰기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2A83433C-35DB-4E26-90ED-336A1DDB1945}"/>
              </a:ext>
            </a:extLst>
          </p:cNvPr>
          <p:cNvSpPr/>
          <p:nvPr/>
        </p:nvSpPr>
        <p:spPr>
          <a:xfrm flipV="1">
            <a:off x="4305817" y="1499101"/>
            <a:ext cx="1147476" cy="59569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270E0CB0-1708-4EDE-8BED-1E80A17F9984}"/>
              </a:ext>
            </a:extLst>
          </p:cNvPr>
          <p:cNvSpPr/>
          <p:nvPr/>
        </p:nvSpPr>
        <p:spPr>
          <a:xfrm>
            <a:off x="1707185" y="2590166"/>
            <a:ext cx="3384376" cy="1887159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6BC5EC-95D5-4D6A-AC61-1F7D23158D34}"/>
              </a:ext>
            </a:extLst>
          </p:cNvPr>
          <p:cNvSpPr txBox="1"/>
          <p:nvPr/>
        </p:nvSpPr>
        <p:spPr>
          <a:xfrm>
            <a:off x="2204934" y="2872025"/>
            <a:ext cx="22242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0" dirty="0">
                <a:solidFill>
                  <a:schemeClr val="bg1"/>
                </a:solidFill>
                <a:latin typeface="+mn-ea"/>
                <a:ea typeface="+mn-ea"/>
              </a:rPr>
              <a:t>그림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B5ADD0-446F-4E53-AB0A-D99FEF9F7C67}"/>
              </a:ext>
            </a:extLst>
          </p:cNvPr>
          <p:cNvSpPr txBox="1"/>
          <p:nvPr/>
        </p:nvSpPr>
        <p:spPr>
          <a:xfrm>
            <a:off x="1259632" y="4581128"/>
            <a:ext cx="475252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+mn-ea"/>
                <a:ea typeface="+mn-ea"/>
              </a:rPr>
              <a:t>~~~~~~~~~~~~~~~~~~~~~~~~~~~~~~~~~~~~~~~~~~~~~~~~~~~~~~~~~~~~~~~~~~~~~~~~~~~~~~~~~~~~~~~~~~~~~~~~~~~~~~~~~~~~~~~~~~~~~~~~~~~~~~~~~~~~~~~~~~~~~~~~~~~~~~~~~~~~~~~~~~~~~~~~~~~~~~~~~~~~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F3A7D416-5C62-4258-BA60-59FD7ACEBBFF}"/>
              </a:ext>
            </a:extLst>
          </p:cNvPr>
          <p:cNvSpPr/>
          <p:nvPr/>
        </p:nvSpPr>
        <p:spPr>
          <a:xfrm>
            <a:off x="346434" y="2189913"/>
            <a:ext cx="481150" cy="459543"/>
          </a:xfrm>
          <a:prstGeom prst="ellipse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CBC57A2-ABD8-4B99-90AA-1D963525708B}"/>
              </a:ext>
            </a:extLst>
          </p:cNvPr>
          <p:cNvSpPr txBox="1"/>
          <p:nvPr/>
        </p:nvSpPr>
        <p:spPr>
          <a:xfrm>
            <a:off x="948694" y="2244076"/>
            <a:ext cx="7429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+mn-ea"/>
              </a:rPr>
              <a:t>OOO</a:t>
            </a:r>
            <a:endParaRPr lang="ko-KR" altLang="en-US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216830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75B5ADD0-446F-4E53-AB0A-D99FEF9F7C67}"/>
              </a:ext>
            </a:extLst>
          </p:cNvPr>
          <p:cNvSpPr txBox="1"/>
          <p:nvPr/>
        </p:nvSpPr>
        <p:spPr>
          <a:xfrm>
            <a:off x="1102518" y="1312750"/>
            <a:ext cx="475252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+mn-ea"/>
                <a:ea typeface="+mn-ea"/>
              </a:rPr>
              <a:t>~~~~~~~~~~~~~~~~~~~~~~~~~~~~~~~~~~~~~~~~~~~~~~~~~~~~~~~~~~~~~~~~~~~~~~~~~~~~~~~~~~~~~~~~~~~~~~~~~~~~~~~~~~~~~~~~~~~~~~~~~~~~~~~~~~~~~~~~~~~~~~~~~~~~~~~~~~~~~~~~~~~~~~~~~~~~~~~~~~~~</a:t>
            </a:r>
            <a:endParaRPr lang="ko-KR" altLang="en-US" dirty="0">
              <a:latin typeface="+mn-ea"/>
              <a:ea typeface="+mn-ea"/>
            </a:endParaRPr>
          </a:p>
        </p:txBody>
      </p:sp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7869145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댓글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8251615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34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선배의 뜨끈한 조언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댓글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2" name="직사각형 1">
            <a:extLst>
              <a:ext uri="{FF2B5EF4-FFF2-40B4-BE49-F238E27FC236}">
                <a16:creationId xmlns:a16="http://schemas.microsoft.com/office/drawing/2014/main" id="{97F50574-5DB7-4FAB-A1EC-9C4E1770C89D}"/>
              </a:ext>
            </a:extLst>
          </p:cNvPr>
          <p:cNvSpPr/>
          <p:nvPr/>
        </p:nvSpPr>
        <p:spPr>
          <a:xfrm>
            <a:off x="225324" y="1533049"/>
            <a:ext cx="6506916" cy="527799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4508737-FB8C-4A6F-8094-833F1C854170}"/>
              </a:ext>
            </a:extLst>
          </p:cNvPr>
          <p:cNvSpPr txBox="1"/>
          <p:nvPr/>
        </p:nvSpPr>
        <p:spPr>
          <a:xfrm>
            <a:off x="1807688" y="1607412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</a:rPr>
              <a:t>랭킹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1F37C20-2AF5-4718-ACCE-FEB99799D52A}"/>
              </a:ext>
            </a:extLst>
          </p:cNvPr>
          <p:cNvSpPr txBox="1"/>
          <p:nvPr/>
        </p:nvSpPr>
        <p:spPr>
          <a:xfrm>
            <a:off x="2825635" y="1607412"/>
            <a:ext cx="1147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선배 목록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BD608D-582C-490B-BB95-4CA20E63AC08}"/>
              </a:ext>
            </a:extLst>
          </p:cNvPr>
          <p:cNvSpPr txBox="1"/>
          <p:nvPr/>
        </p:nvSpPr>
        <p:spPr>
          <a:xfrm>
            <a:off x="4419968" y="1621661"/>
            <a:ext cx="10205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글 쓰기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2A83433C-35DB-4E26-90ED-336A1DDB1945}"/>
              </a:ext>
            </a:extLst>
          </p:cNvPr>
          <p:cNvSpPr/>
          <p:nvPr/>
        </p:nvSpPr>
        <p:spPr>
          <a:xfrm flipV="1">
            <a:off x="4305817" y="1499101"/>
            <a:ext cx="1147476" cy="59569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6BC5EC-95D5-4D6A-AC61-1F7D23158D34}"/>
              </a:ext>
            </a:extLst>
          </p:cNvPr>
          <p:cNvSpPr txBox="1"/>
          <p:nvPr/>
        </p:nvSpPr>
        <p:spPr>
          <a:xfrm>
            <a:off x="2195736" y="2454202"/>
            <a:ext cx="22242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0" dirty="0">
                <a:solidFill>
                  <a:schemeClr val="bg1"/>
                </a:solidFill>
                <a:latin typeface="+mn-ea"/>
                <a:ea typeface="+mn-ea"/>
              </a:rPr>
              <a:t>그림</a:t>
            </a:r>
          </a:p>
        </p:txBody>
      </p:sp>
      <p:cxnSp>
        <p:nvCxnSpPr>
          <p:cNvPr id="11" name="직선 연결선 10">
            <a:extLst>
              <a:ext uri="{FF2B5EF4-FFF2-40B4-BE49-F238E27FC236}">
                <a16:creationId xmlns:a16="http://schemas.microsoft.com/office/drawing/2014/main" id="{F39B5C71-3FEA-44C6-8B6F-64BDF753CDC4}"/>
              </a:ext>
            </a:extLst>
          </p:cNvPr>
          <p:cNvCxnSpPr/>
          <p:nvPr/>
        </p:nvCxnSpPr>
        <p:spPr>
          <a:xfrm>
            <a:off x="225324" y="3212976"/>
            <a:ext cx="650691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F77A9CF6-F7D3-4E97-B6EF-5DF094475483}"/>
              </a:ext>
            </a:extLst>
          </p:cNvPr>
          <p:cNvSpPr txBox="1"/>
          <p:nvPr/>
        </p:nvSpPr>
        <p:spPr>
          <a:xfrm>
            <a:off x="346434" y="3275692"/>
            <a:ext cx="5531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err="1">
                <a:latin typeface="+mn-ea"/>
              </a:rPr>
              <a:t>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8E1C1CA-BEE8-4801-BB92-839645F71B69}"/>
              </a:ext>
            </a:extLst>
          </p:cNvPr>
          <p:cNvSpPr txBox="1"/>
          <p:nvPr/>
        </p:nvSpPr>
        <p:spPr>
          <a:xfrm>
            <a:off x="539552" y="3777641"/>
            <a:ext cx="5904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+mn-ea"/>
                <a:ea typeface="+mn-ea"/>
              </a:rPr>
              <a:t>~~~~~~~~~~~~~~~~~~~~~~~~~~~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21" name="직선 연결선 20">
            <a:extLst>
              <a:ext uri="{FF2B5EF4-FFF2-40B4-BE49-F238E27FC236}">
                <a16:creationId xmlns:a16="http://schemas.microsoft.com/office/drawing/2014/main" id="{DFF540FC-2EC2-4F73-B8C9-03B8FB531EC9}"/>
              </a:ext>
            </a:extLst>
          </p:cNvPr>
          <p:cNvCxnSpPr/>
          <p:nvPr/>
        </p:nvCxnSpPr>
        <p:spPr>
          <a:xfrm>
            <a:off x="225324" y="4293096"/>
            <a:ext cx="650691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CF38665-0F09-467A-919C-A83C5EF4753A}"/>
              </a:ext>
            </a:extLst>
          </p:cNvPr>
          <p:cNvSpPr txBox="1"/>
          <p:nvPr/>
        </p:nvSpPr>
        <p:spPr>
          <a:xfrm>
            <a:off x="346434" y="4487618"/>
            <a:ext cx="5531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err="1">
                <a:latin typeface="+mn-ea"/>
              </a:rPr>
              <a:t>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0EA3F61-D8E0-489B-BAF0-C22E3C6BCD3C}"/>
              </a:ext>
            </a:extLst>
          </p:cNvPr>
          <p:cNvSpPr txBox="1"/>
          <p:nvPr/>
        </p:nvSpPr>
        <p:spPr>
          <a:xfrm>
            <a:off x="539552" y="4989567"/>
            <a:ext cx="5904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+mn-ea"/>
                <a:ea typeface="+mn-ea"/>
              </a:rPr>
              <a:t>~~~~~~~~~~~~~~~~~~~~~~~~~~~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25" name="직선 연결선 24">
            <a:extLst>
              <a:ext uri="{FF2B5EF4-FFF2-40B4-BE49-F238E27FC236}">
                <a16:creationId xmlns:a16="http://schemas.microsoft.com/office/drawing/2014/main" id="{176731CA-B54B-4F04-B92C-D598E2D42A6F}"/>
              </a:ext>
            </a:extLst>
          </p:cNvPr>
          <p:cNvCxnSpPr/>
          <p:nvPr/>
        </p:nvCxnSpPr>
        <p:spPr>
          <a:xfrm>
            <a:off x="225324" y="5505022"/>
            <a:ext cx="650691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ECB04EB0-DCD8-44CA-8BCD-6018D7A500DC}"/>
              </a:ext>
            </a:extLst>
          </p:cNvPr>
          <p:cNvSpPr txBox="1"/>
          <p:nvPr/>
        </p:nvSpPr>
        <p:spPr>
          <a:xfrm>
            <a:off x="330257" y="5693388"/>
            <a:ext cx="5531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err="1">
                <a:latin typeface="+mn-ea"/>
              </a:rPr>
              <a:t>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A350FD0-789A-410C-A7B1-37439CFA5681}"/>
              </a:ext>
            </a:extLst>
          </p:cNvPr>
          <p:cNvSpPr txBox="1"/>
          <p:nvPr/>
        </p:nvSpPr>
        <p:spPr>
          <a:xfrm>
            <a:off x="523375" y="6195337"/>
            <a:ext cx="5904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+mn-ea"/>
                <a:ea typeface="+mn-ea"/>
              </a:rPr>
              <a:t>~~~~~~~~~~~~~~~~~~~~~~~~~~~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7B9D7916-7B44-4993-AA49-3E4BA1EBA701}"/>
              </a:ext>
            </a:extLst>
          </p:cNvPr>
          <p:cNvCxnSpPr/>
          <p:nvPr/>
        </p:nvCxnSpPr>
        <p:spPr>
          <a:xfrm>
            <a:off x="209147" y="6710792"/>
            <a:ext cx="650691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39332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4960668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일반 커뮤니티에서의 글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그림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좋아요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댓글의 모습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4811952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36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일반 커뮤니티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일반 커뮤니티 전반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12" name="직사각형 11">
            <a:extLst>
              <a:ext uri="{FF2B5EF4-FFF2-40B4-BE49-F238E27FC236}">
                <a16:creationId xmlns:a16="http://schemas.microsoft.com/office/drawing/2014/main" id="{01F9ECA5-172C-46E2-866B-68E21C1287B6}"/>
              </a:ext>
            </a:extLst>
          </p:cNvPr>
          <p:cNvSpPr/>
          <p:nvPr/>
        </p:nvSpPr>
        <p:spPr>
          <a:xfrm>
            <a:off x="225324" y="1533049"/>
            <a:ext cx="6506916" cy="527799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616E6B3F-B6DE-4C41-A4E2-D974E8591542}"/>
              </a:ext>
            </a:extLst>
          </p:cNvPr>
          <p:cNvSpPr/>
          <p:nvPr/>
        </p:nvSpPr>
        <p:spPr>
          <a:xfrm flipV="1">
            <a:off x="370156" y="1489101"/>
            <a:ext cx="1465539" cy="59569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BF0BDC-9C8B-41C9-B2C0-A828F2F14B56}"/>
              </a:ext>
            </a:extLst>
          </p:cNvPr>
          <p:cNvSpPr txBox="1"/>
          <p:nvPr/>
        </p:nvSpPr>
        <p:spPr>
          <a:xfrm>
            <a:off x="309097" y="1610455"/>
            <a:ext cx="1610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일반 커뮤니티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D2D1FE01-119E-40AC-8357-516559612DC9}"/>
              </a:ext>
            </a:extLst>
          </p:cNvPr>
          <p:cNvSpPr/>
          <p:nvPr/>
        </p:nvSpPr>
        <p:spPr>
          <a:xfrm>
            <a:off x="1691680" y="2647742"/>
            <a:ext cx="3384376" cy="1887159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E8B394D-5C95-485E-A38B-30DEE8192812}"/>
              </a:ext>
            </a:extLst>
          </p:cNvPr>
          <p:cNvSpPr txBox="1"/>
          <p:nvPr/>
        </p:nvSpPr>
        <p:spPr>
          <a:xfrm>
            <a:off x="2195736" y="2912031"/>
            <a:ext cx="22242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0" dirty="0">
                <a:solidFill>
                  <a:schemeClr val="bg1"/>
                </a:solidFill>
                <a:latin typeface="+mn-ea"/>
                <a:ea typeface="+mn-ea"/>
              </a:rPr>
              <a:t>그림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090BC5C-6402-4A60-BBA9-980005EB269A}"/>
              </a:ext>
            </a:extLst>
          </p:cNvPr>
          <p:cNvSpPr txBox="1"/>
          <p:nvPr/>
        </p:nvSpPr>
        <p:spPr>
          <a:xfrm>
            <a:off x="1007604" y="4510860"/>
            <a:ext cx="4752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+mn-ea"/>
                <a:ea typeface="+mn-ea"/>
              </a:rPr>
              <a:t>~~~~~~~~~~~~~~~~~~~~~~~~~~~~~~~~~~~~~~~~~~~~~~~~~~~~~~~~~~~~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35" name="직선 연결선 34">
            <a:extLst>
              <a:ext uri="{FF2B5EF4-FFF2-40B4-BE49-F238E27FC236}">
                <a16:creationId xmlns:a16="http://schemas.microsoft.com/office/drawing/2014/main" id="{3B93E4E4-0CDD-4C49-AB23-ACEE6E2D28A6}"/>
              </a:ext>
            </a:extLst>
          </p:cNvPr>
          <p:cNvCxnSpPr/>
          <p:nvPr/>
        </p:nvCxnSpPr>
        <p:spPr>
          <a:xfrm>
            <a:off x="225324" y="5601134"/>
            <a:ext cx="650691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57582732-0CEE-4C48-B7F1-84D444792BD5}"/>
              </a:ext>
            </a:extLst>
          </p:cNvPr>
          <p:cNvSpPr txBox="1"/>
          <p:nvPr/>
        </p:nvSpPr>
        <p:spPr>
          <a:xfrm>
            <a:off x="346434" y="5663850"/>
            <a:ext cx="5531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err="1">
                <a:latin typeface="+mn-ea"/>
              </a:rPr>
              <a:t>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2DA72F1-1CC2-4A3F-94AC-27254AD9C3E5}"/>
              </a:ext>
            </a:extLst>
          </p:cNvPr>
          <p:cNvSpPr txBox="1"/>
          <p:nvPr/>
        </p:nvSpPr>
        <p:spPr>
          <a:xfrm>
            <a:off x="539552" y="6165799"/>
            <a:ext cx="5904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+mn-ea"/>
                <a:ea typeface="+mn-ea"/>
              </a:rPr>
              <a:t>~~~~~~~~~~~~~~~~~~~~~~~~~~~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38" name="직선 연결선 37">
            <a:extLst>
              <a:ext uri="{FF2B5EF4-FFF2-40B4-BE49-F238E27FC236}">
                <a16:creationId xmlns:a16="http://schemas.microsoft.com/office/drawing/2014/main" id="{F28EC878-1EB5-4914-814D-8C02D7F0B1C1}"/>
              </a:ext>
            </a:extLst>
          </p:cNvPr>
          <p:cNvCxnSpPr/>
          <p:nvPr/>
        </p:nvCxnSpPr>
        <p:spPr>
          <a:xfrm>
            <a:off x="225324" y="6681254"/>
            <a:ext cx="650691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하트 7">
            <a:extLst>
              <a:ext uri="{FF2B5EF4-FFF2-40B4-BE49-F238E27FC236}">
                <a16:creationId xmlns:a16="http://schemas.microsoft.com/office/drawing/2014/main" id="{C2E1D959-FE4B-4337-9A48-1A23ED9CD1D7}"/>
              </a:ext>
            </a:extLst>
          </p:cNvPr>
          <p:cNvSpPr/>
          <p:nvPr/>
        </p:nvSpPr>
        <p:spPr>
          <a:xfrm>
            <a:off x="1403648" y="5085184"/>
            <a:ext cx="515821" cy="434874"/>
          </a:xfrm>
          <a:prstGeom prst="heart">
            <a:avLst/>
          </a:prstGeom>
          <a:solidFill>
            <a:srgbClr val="FF0000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290C16C-CF4D-4702-A5EE-5F89DA114C60}"/>
              </a:ext>
            </a:extLst>
          </p:cNvPr>
          <p:cNvSpPr txBox="1"/>
          <p:nvPr/>
        </p:nvSpPr>
        <p:spPr>
          <a:xfrm>
            <a:off x="2051720" y="5157192"/>
            <a:ext cx="576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+mn-ea"/>
                <a:ea typeface="+mn-ea"/>
              </a:rPr>
              <a:t>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19" name="타원 18">
            <a:extLst>
              <a:ext uri="{FF2B5EF4-FFF2-40B4-BE49-F238E27FC236}">
                <a16:creationId xmlns:a16="http://schemas.microsoft.com/office/drawing/2014/main" id="{3C3F32B9-2837-43E5-BCA5-01D893B3B3CD}"/>
              </a:ext>
            </a:extLst>
          </p:cNvPr>
          <p:cNvSpPr/>
          <p:nvPr/>
        </p:nvSpPr>
        <p:spPr>
          <a:xfrm>
            <a:off x="346434" y="2189913"/>
            <a:ext cx="481150" cy="459543"/>
          </a:xfrm>
          <a:prstGeom prst="ellipse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DE81925-38E5-4BA4-A81D-97F4036BDA8F}"/>
              </a:ext>
            </a:extLst>
          </p:cNvPr>
          <p:cNvSpPr txBox="1"/>
          <p:nvPr/>
        </p:nvSpPr>
        <p:spPr>
          <a:xfrm>
            <a:off x="948694" y="2244076"/>
            <a:ext cx="7429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+mn-ea"/>
              </a:rPr>
              <a:t>OOO</a:t>
            </a:r>
            <a:endParaRPr lang="ko-KR" altLang="en-US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758045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5039869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01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메뉴바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커뮤니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F7FDD081-9522-4ECC-976A-293F5241A519}"/>
              </a:ext>
            </a:extLst>
          </p:cNvPr>
          <p:cNvSpPr/>
          <p:nvPr/>
        </p:nvSpPr>
        <p:spPr>
          <a:xfrm>
            <a:off x="683568" y="1772816"/>
            <a:ext cx="5688632" cy="446449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2E876B55-2240-493D-9574-A20E673029D8}"/>
              </a:ext>
            </a:extLst>
          </p:cNvPr>
          <p:cNvSpPr/>
          <p:nvPr/>
        </p:nvSpPr>
        <p:spPr>
          <a:xfrm>
            <a:off x="683568" y="1772816"/>
            <a:ext cx="5688632" cy="496765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FABAE989-3245-4206-BBDD-83D95E1E8844}"/>
              </a:ext>
            </a:extLst>
          </p:cNvPr>
          <p:cNvSpPr/>
          <p:nvPr/>
        </p:nvSpPr>
        <p:spPr>
          <a:xfrm>
            <a:off x="710870" y="1628800"/>
            <a:ext cx="1072055" cy="72008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2538259"/>
              </p:ext>
            </p:extLst>
          </p:nvPr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graphicFrame>
        <p:nvGraphicFramePr>
          <p:cNvPr id="15" name="표 14">
            <a:extLst>
              <a:ext uri="{FF2B5EF4-FFF2-40B4-BE49-F238E27FC236}">
                <a16:creationId xmlns:a16="http://schemas.microsoft.com/office/drawing/2014/main" id="{8A9C8D74-05B1-47E7-8F55-EB3C55C832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3034467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커뮤니티 화면으로 이동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0249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719293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인기글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확인 방법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3480076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39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일반 커뮤니티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인기글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12" name="직사각형 11">
            <a:extLst>
              <a:ext uri="{FF2B5EF4-FFF2-40B4-BE49-F238E27FC236}">
                <a16:creationId xmlns:a16="http://schemas.microsoft.com/office/drawing/2014/main" id="{01F9ECA5-172C-46E2-866B-68E21C1287B6}"/>
              </a:ext>
            </a:extLst>
          </p:cNvPr>
          <p:cNvSpPr/>
          <p:nvPr/>
        </p:nvSpPr>
        <p:spPr>
          <a:xfrm>
            <a:off x="225324" y="1533049"/>
            <a:ext cx="6506916" cy="527799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BF0BDC-9C8B-41C9-B2C0-A828F2F14B56}"/>
              </a:ext>
            </a:extLst>
          </p:cNvPr>
          <p:cNvSpPr txBox="1"/>
          <p:nvPr/>
        </p:nvSpPr>
        <p:spPr>
          <a:xfrm>
            <a:off x="309097" y="1610455"/>
            <a:ext cx="1610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일반 커뮤니티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571E155-7721-4ADD-BF2E-7AD87A24A22D}"/>
              </a:ext>
            </a:extLst>
          </p:cNvPr>
          <p:cNvSpPr txBox="1"/>
          <p:nvPr/>
        </p:nvSpPr>
        <p:spPr>
          <a:xfrm>
            <a:off x="309097" y="2235284"/>
            <a:ext cx="44689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>
                <a:latin typeface="+mn-ea"/>
              </a:rPr>
              <a:t>엌ㅋㅋㅋㅋㅋ</a:t>
            </a:r>
            <a:r>
              <a:rPr lang="ko-KR" altLang="en-US" dirty="0">
                <a:latin typeface="+mn-ea"/>
              </a:rPr>
              <a:t> 이거 </a:t>
            </a:r>
            <a:r>
              <a:rPr lang="ko-KR" altLang="en-US" dirty="0" err="1">
                <a:latin typeface="+mn-ea"/>
              </a:rPr>
              <a:t>댕웃기는데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263726A2-64F7-4A7E-B013-9A526F7B0A74}"/>
              </a:ext>
            </a:extLst>
          </p:cNvPr>
          <p:cNvCxnSpPr/>
          <p:nvPr/>
        </p:nvCxnSpPr>
        <p:spPr>
          <a:xfrm>
            <a:off x="211170" y="2808534"/>
            <a:ext cx="652107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ED3E91E4-9234-4277-B3B1-6BB5E48F29E6}"/>
              </a:ext>
            </a:extLst>
          </p:cNvPr>
          <p:cNvSpPr txBox="1"/>
          <p:nvPr/>
        </p:nvSpPr>
        <p:spPr>
          <a:xfrm>
            <a:off x="3093010" y="2481020"/>
            <a:ext cx="13269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조회수</a:t>
            </a:r>
            <a:r>
              <a:rPr lang="en-US" altLang="ko-KR" dirty="0">
                <a:latin typeface="+mn-ea"/>
                <a:ea typeface="+mn-ea"/>
              </a:rPr>
              <a:t>: </a:t>
            </a:r>
            <a:r>
              <a:rPr lang="en-US" altLang="ko-KR" dirty="0">
                <a:latin typeface="+mn-ea"/>
              </a:rPr>
              <a:t>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E124B2D-E1F3-4D8B-B27D-AD02373E1823}"/>
              </a:ext>
            </a:extLst>
          </p:cNvPr>
          <p:cNvSpPr txBox="1"/>
          <p:nvPr/>
        </p:nvSpPr>
        <p:spPr>
          <a:xfrm>
            <a:off x="4572000" y="2460856"/>
            <a:ext cx="13269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댓글</a:t>
            </a:r>
            <a:r>
              <a:rPr lang="en-US" altLang="ko-KR" dirty="0">
                <a:latin typeface="+mn-ea"/>
                <a:ea typeface="+mn-ea"/>
              </a:rPr>
              <a:t>: OO</a:t>
            </a:r>
            <a:endParaRPr lang="ko-KR" altLang="en-US" dirty="0">
              <a:latin typeface="+mn-ea"/>
              <a:ea typeface="+mn-ea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DC3190F8-582F-4C17-BCB2-555B1B5594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9044" y="2184955"/>
            <a:ext cx="441262" cy="446007"/>
          </a:xfrm>
          <a:prstGeom prst="rect">
            <a:avLst/>
          </a:prstGeom>
        </p:spPr>
      </p:pic>
      <p:sp>
        <p:nvSpPr>
          <p:cNvPr id="30" name="직사각형 29">
            <a:extLst>
              <a:ext uri="{FF2B5EF4-FFF2-40B4-BE49-F238E27FC236}">
                <a16:creationId xmlns:a16="http://schemas.microsoft.com/office/drawing/2014/main" id="{A0F8227C-62DF-4660-B3AD-44A74F75132D}"/>
              </a:ext>
            </a:extLst>
          </p:cNvPr>
          <p:cNvSpPr/>
          <p:nvPr/>
        </p:nvSpPr>
        <p:spPr>
          <a:xfrm flipV="1">
            <a:off x="5866559" y="2122101"/>
            <a:ext cx="865682" cy="59569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1011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1204712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익명 커뮤니티는 보여지는 이름이 익명으로 바뀔 뿐이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354038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42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일반 커뮤니티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익명 커뮤니티 전반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12" name="직사각형 11">
            <a:extLst>
              <a:ext uri="{FF2B5EF4-FFF2-40B4-BE49-F238E27FC236}">
                <a16:creationId xmlns:a16="http://schemas.microsoft.com/office/drawing/2014/main" id="{01F9ECA5-172C-46E2-866B-68E21C1287B6}"/>
              </a:ext>
            </a:extLst>
          </p:cNvPr>
          <p:cNvSpPr/>
          <p:nvPr/>
        </p:nvSpPr>
        <p:spPr>
          <a:xfrm>
            <a:off x="225324" y="1533049"/>
            <a:ext cx="6506916" cy="527799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616E6B3F-B6DE-4C41-A4E2-D974E8591542}"/>
              </a:ext>
            </a:extLst>
          </p:cNvPr>
          <p:cNvSpPr/>
          <p:nvPr/>
        </p:nvSpPr>
        <p:spPr>
          <a:xfrm flipV="1">
            <a:off x="370156" y="1489101"/>
            <a:ext cx="1465539" cy="59569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BF0BDC-9C8B-41C9-B2C0-A828F2F14B56}"/>
              </a:ext>
            </a:extLst>
          </p:cNvPr>
          <p:cNvSpPr txBox="1"/>
          <p:nvPr/>
        </p:nvSpPr>
        <p:spPr>
          <a:xfrm>
            <a:off x="309097" y="1610455"/>
            <a:ext cx="1610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일반 커뮤니티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D2D1FE01-119E-40AC-8357-516559612DC9}"/>
              </a:ext>
            </a:extLst>
          </p:cNvPr>
          <p:cNvSpPr/>
          <p:nvPr/>
        </p:nvSpPr>
        <p:spPr>
          <a:xfrm>
            <a:off x="1691680" y="2647742"/>
            <a:ext cx="3384376" cy="1887159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E8B394D-5C95-485E-A38B-30DEE8192812}"/>
              </a:ext>
            </a:extLst>
          </p:cNvPr>
          <p:cNvSpPr txBox="1"/>
          <p:nvPr/>
        </p:nvSpPr>
        <p:spPr>
          <a:xfrm>
            <a:off x="2195736" y="2912031"/>
            <a:ext cx="22242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0" dirty="0">
                <a:solidFill>
                  <a:schemeClr val="bg1"/>
                </a:solidFill>
                <a:latin typeface="+mn-ea"/>
                <a:ea typeface="+mn-ea"/>
              </a:rPr>
              <a:t>그림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090BC5C-6402-4A60-BBA9-980005EB269A}"/>
              </a:ext>
            </a:extLst>
          </p:cNvPr>
          <p:cNvSpPr txBox="1"/>
          <p:nvPr/>
        </p:nvSpPr>
        <p:spPr>
          <a:xfrm>
            <a:off x="1007604" y="4510860"/>
            <a:ext cx="4752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+mn-ea"/>
                <a:ea typeface="+mn-ea"/>
              </a:rPr>
              <a:t>~~~~~~~~~~~~~~~~~~~~~~~~~~~~~~~~~~~~~~~~~~~~~~~~~~~~~~~~~~~~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35" name="직선 연결선 34">
            <a:extLst>
              <a:ext uri="{FF2B5EF4-FFF2-40B4-BE49-F238E27FC236}">
                <a16:creationId xmlns:a16="http://schemas.microsoft.com/office/drawing/2014/main" id="{3B93E4E4-0CDD-4C49-AB23-ACEE6E2D28A6}"/>
              </a:ext>
            </a:extLst>
          </p:cNvPr>
          <p:cNvCxnSpPr/>
          <p:nvPr/>
        </p:nvCxnSpPr>
        <p:spPr>
          <a:xfrm>
            <a:off x="225324" y="5601134"/>
            <a:ext cx="650691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57582732-0CEE-4C48-B7F1-84D444792BD5}"/>
              </a:ext>
            </a:extLst>
          </p:cNvPr>
          <p:cNvSpPr txBox="1"/>
          <p:nvPr/>
        </p:nvSpPr>
        <p:spPr>
          <a:xfrm>
            <a:off x="346434" y="5663850"/>
            <a:ext cx="5531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err="1">
                <a:latin typeface="+mn-ea"/>
              </a:rPr>
              <a:t>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2DA72F1-1CC2-4A3F-94AC-27254AD9C3E5}"/>
              </a:ext>
            </a:extLst>
          </p:cNvPr>
          <p:cNvSpPr txBox="1"/>
          <p:nvPr/>
        </p:nvSpPr>
        <p:spPr>
          <a:xfrm>
            <a:off x="539552" y="6165799"/>
            <a:ext cx="5904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+mn-ea"/>
                <a:ea typeface="+mn-ea"/>
              </a:rPr>
              <a:t>~~~~~~~~~~~~~~~~~~~~~~~~~~~</a:t>
            </a:r>
            <a:endParaRPr lang="ko-KR" altLang="en-US" dirty="0">
              <a:latin typeface="+mn-ea"/>
              <a:ea typeface="+mn-ea"/>
            </a:endParaRPr>
          </a:p>
        </p:txBody>
      </p:sp>
      <p:cxnSp>
        <p:nvCxnSpPr>
          <p:cNvPr id="38" name="직선 연결선 37">
            <a:extLst>
              <a:ext uri="{FF2B5EF4-FFF2-40B4-BE49-F238E27FC236}">
                <a16:creationId xmlns:a16="http://schemas.microsoft.com/office/drawing/2014/main" id="{F28EC878-1EB5-4914-814D-8C02D7F0B1C1}"/>
              </a:ext>
            </a:extLst>
          </p:cNvPr>
          <p:cNvCxnSpPr/>
          <p:nvPr/>
        </p:nvCxnSpPr>
        <p:spPr>
          <a:xfrm>
            <a:off x="225324" y="6681254"/>
            <a:ext cx="650691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하트 7">
            <a:extLst>
              <a:ext uri="{FF2B5EF4-FFF2-40B4-BE49-F238E27FC236}">
                <a16:creationId xmlns:a16="http://schemas.microsoft.com/office/drawing/2014/main" id="{C2E1D959-FE4B-4337-9A48-1A23ED9CD1D7}"/>
              </a:ext>
            </a:extLst>
          </p:cNvPr>
          <p:cNvSpPr/>
          <p:nvPr/>
        </p:nvSpPr>
        <p:spPr>
          <a:xfrm>
            <a:off x="1403648" y="5085184"/>
            <a:ext cx="515821" cy="434874"/>
          </a:xfrm>
          <a:prstGeom prst="heart">
            <a:avLst/>
          </a:prstGeom>
          <a:solidFill>
            <a:srgbClr val="FF0000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290C16C-CF4D-4702-A5EE-5F89DA114C60}"/>
              </a:ext>
            </a:extLst>
          </p:cNvPr>
          <p:cNvSpPr txBox="1"/>
          <p:nvPr/>
        </p:nvSpPr>
        <p:spPr>
          <a:xfrm>
            <a:off x="2051720" y="5157192"/>
            <a:ext cx="576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latin typeface="+mn-ea"/>
                <a:ea typeface="+mn-ea"/>
              </a:rPr>
              <a:t>OO</a:t>
            </a:r>
            <a:endParaRPr lang="ko-KR" altLang="en-US" dirty="0">
              <a:latin typeface="+mn-ea"/>
              <a:ea typeface="+mn-ea"/>
            </a:endParaRPr>
          </a:p>
        </p:txBody>
      </p:sp>
      <p:sp>
        <p:nvSpPr>
          <p:cNvPr id="19" name="타원 18">
            <a:extLst>
              <a:ext uri="{FF2B5EF4-FFF2-40B4-BE49-F238E27FC236}">
                <a16:creationId xmlns:a16="http://schemas.microsoft.com/office/drawing/2014/main" id="{3C3F32B9-2837-43E5-BCA5-01D893B3B3CD}"/>
              </a:ext>
            </a:extLst>
          </p:cNvPr>
          <p:cNvSpPr/>
          <p:nvPr/>
        </p:nvSpPr>
        <p:spPr>
          <a:xfrm>
            <a:off x="346434" y="2189913"/>
            <a:ext cx="481150" cy="459543"/>
          </a:xfrm>
          <a:prstGeom prst="ellipse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DE81925-38E5-4BA4-A81D-97F4036BDA8F}"/>
              </a:ext>
            </a:extLst>
          </p:cNvPr>
          <p:cNvSpPr txBox="1"/>
          <p:nvPr/>
        </p:nvSpPr>
        <p:spPr>
          <a:xfrm>
            <a:off x="948694" y="2244076"/>
            <a:ext cx="7429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latin typeface="+mn-ea"/>
                <a:ea typeface="+mn-ea"/>
              </a:rPr>
              <a:t>익명</a:t>
            </a:r>
          </a:p>
        </p:txBody>
      </p:sp>
    </p:spTree>
    <p:extLst>
      <p:ext uri="{BB962C8B-B14F-4D97-AF65-F5344CB8AC3E}">
        <p14:creationId xmlns:p14="http://schemas.microsoft.com/office/powerpoint/2010/main" val="21236947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0772909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우리 학교에 일정을 달력 형식으로 보여준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210032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54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학사일정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학교 일정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pic>
        <p:nvPicPr>
          <p:cNvPr id="2" name="그림 1">
            <a:extLst>
              <a:ext uri="{FF2B5EF4-FFF2-40B4-BE49-F238E27FC236}">
                <a16:creationId xmlns:a16="http://schemas.microsoft.com/office/drawing/2014/main" id="{0F721073-62FF-4717-A345-947CA7C884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324" y="1533050"/>
            <a:ext cx="6461047" cy="422041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C97F45E-01B8-4B79-BBA4-92D13AF3F26F}"/>
              </a:ext>
            </a:extLst>
          </p:cNvPr>
          <p:cNvSpPr txBox="1"/>
          <p:nvPr/>
        </p:nvSpPr>
        <p:spPr>
          <a:xfrm>
            <a:off x="2771800" y="6093296"/>
            <a:ext cx="3816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>
                <a:latin typeface="+mn-ea"/>
                <a:ea typeface="+mn-ea"/>
              </a:rPr>
              <a:t>출저</a:t>
            </a:r>
            <a:r>
              <a:rPr lang="en-US" altLang="ko-KR" dirty="0">
                <a:latin typeface="+mn-ea"/>
                <a:ea typeface="+mn-ea"/>
              </a:rPr>
              <a:t>: </a:t>
            </a:r>
            <a:r>
              <a:rPr lang="ko-KR" altLang="en-US" dirty="0" err="1">
                <a:latin typeface="+mn-ea"/>
                <a:ea typeface="+mn-ea"/>
              </a:rPr>
              <a:t>부산소마고</a:t>
            </a:r>
            <a:r>
              <a:rPr lang="ko-KR" altLang="en-US" dirty="0">
                <a:latin typeface="+mn-ea"/>
                <a:ea typeface="+mn-ea"/>
              </a:rPr>
              <a:t> </a:t>
            </a:r>
            <a:r>
              <a:rPr lang="ko-KR" altLang="en-US" dirty="0" err="1">
                <a:latin typeface="+mn-ea"/>
                <a:ea typeface="+mn-ea"/>
              </a:rPr>
              <a:t>마이스터</a:t>
            </a:r>
            <a:r>
              <a:rPr lang="ko-KR" altLang="en-US" dirty="0">
                <a:latin typeface="+mn-ea"/>
                <a:ea typeface="+mn-ea"/>
              </a:rPr>
              <a:t> 시스템</a:t>
            </a:r>
          </a:p>
        </p:txBody>
      </p:sp>
    </p:spTree>
    <p:extLst>
      <p:ext uri="{BB962C8B-B14F-4D97-AF65-F5344CB8AC3E}">
        <p14:creationId xmlns:p14="http://schemas.microsoft.com/office/powerpoint/2010/main" val="9331752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6691378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우리 학교의 급식을 달력 형식으로 보여줌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12115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55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학사일정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급식표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5C97F45E-01B8-4B79-BBA4-92D13AF3F26F}"/>
              </a:ext>
            </a:extLst>
          </p:cNvPr>
          <p:cNvSpPr txBox="1"/>
          <p:nvPr/>
        </p:nvSpPr>
        <p:spPr>
          <a:xfrm>
            <a:off x="2771800" y="6093296"/>
            <a:ext cx="3816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>
                <a:latin typeface="+mn-ea"/>
                <a:ea typeface="+mn-ea"/>
              </a:rPr>
              <a:t>출저</a:t>
            </a:r>
            <a:r>
              <a:rPr lang="en-US" altLang="ko-KR" dirty="0">
                <a:latin typeface="+mn-ea"/>
                <a:ea typeface="+mn-ea"/>
              </a:rPr>
              <a:t>: </a:t>
            </a:r>
            <a:r>
              <a:rPr lang="ko-KR" altLang="en-US" dirty="0" err="1">
                <a:latin typeface="+mn-ea"/>
                <a:ea typeface="+mn-ea"/>
              </a:rPr>
              <a:t>부산소마고</a:t>
            </a:r>
            <a:r>
              <a:rPr lang="ko-KR" altLang="en-US" dirty="0">
                <a:latin typeface="+mn-ea"/>
                <a:ea typeface="+mn-ea"/>
              </a:rPr>
              <a:t> </a:t>
            </a:r>
            <a:r>
              <a:rPr lang="ko-KR" altLang="en-US" dirty="0" err="1">
                <a:latin typeface="+mn-ea"/>
                <a:ea typeface="+mn-ea"/>
              </a:rPr>
              <a:t>마이스터</a:t>
            </a:r>
            <a:r>
              <a:rPr lang="ko-KR" altLang="en-US" dirty="0">
                <a:latin typeface="+mn-ea"/>
                <a:ea typeface="+mn-ea"/>
              </a:rPr>
              <a:t> 시스템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482C6E0F-AEAD-4A66-9B4A-1941649CFE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867" y="1533049"/>
            <a:ext cx="6499134" cy="4241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79995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2940726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우리 학교의 시간표를 반과 학과 학년에 따라 나누어 보여준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8643005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55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학사일정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시간표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5C97F45E-01B8-4B79-BBA4-92D13AF3F26F}"/>
              </a:ext>
            </a:extLst>
          </p:cNvPr>
          <p:cNvSpPr txBox="1"/>
          <p:nvPr/>
        </p:nvSpPr>
        <p:spPr>
          <a:xfrm>
            <a:off x="1570571" y="5217204"/>
            <a:ext cx="3816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 err="1">
                <a:latin typeface="+mn-ea"/>
                <a:ea typeface="+mn-ea"/>
              </a:rPr>
              <a:t>출저</a:t>
            </a:r>
            <a:r>
              <a:rPr lang="en-US" altLang="ko-KR" dirty="0">
                <a:latin typeface="+mn-ea"/>
                <a:ea typeface="+mn-ea"/>
              </a:rPr>
              <a:t>: </a:t>
            </a:r>
            <a:r>
              <a:rPr lang="ko-KR" altLang="en-US" dirty="0" err="1">
                <a:latin typeface="+mn-ea"/>
                <a:ea typeface="+mn-ea"/>
              </a:rPr>
              <a:t>부산소마고</a:t>
            </a:r>
            <a:r>
              <a:rPr lang="ko-KR" altLang="en-US" dirty="0">
                <a:latin typeface="+mn-ea"/>
                <a:ea typeface="+mn-ea"/>
              </a:rPr>
              <a:t> </a:t>
            </a:r>
            <a:r>
              <a:rPr lang="ko-KR" altLang="en-US" dirty="0" err="1">
                <a:latin typeface="+mn-ea"/>
                <a:ea typeface="+mn-ea"/>
              </a:rPr>
              <a:t>마이스터</a:t>
            </a:r>
            <a:r>
              <a:rPr lang="ko-KR" altLang="en-US" dirty="0">
                <a:latin typeface="+mn-ea"/>
                <a:ea typeface="+mn-ea"/>
              </a:rPr>
              <a:t> 시스템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94026488-BA31-42F2-B0ED-70AEA40315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325" y="2582574"/>
            <a:ext cx="6506916" cy="2461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05833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가상세계서 공부하고 즐겨요&quot;…'메타버스' 올라탄 대학들 &lt; 에듀 &lt; 기사본문 - AI타임스">
            <a:extLst>
              <a:ext uri="{FF2B5EF4-FFF2-40B4-BE49-F238E27FC236}">
                <a16:creationId xmlns:a16="http://schemas.microsoft.com/office/drawing/2014/main" id="{175B1E3A-63A5-4651-A10E-2A943EC8D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324" y="1598004"/>
            <a:ext cx="6515627" cy="5088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4036013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67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메타버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메인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(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웹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웹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별점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5357438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웹과 앱의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차별점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웹은 조이스틱이 필요 없음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52454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가상세계서 공부하고 즐겨요&quot;…'메타버스' 올라탄 대학들 &lt; 에듀 &lt; 기사본문 - AI타임스">
            <a:extLst>
              <a:ext uri="{FF2B5EF4-FFF2-40B4-BE49-F238E27FC236}">
                <a16:creationId xmlns:a16="http://schemas.microsoft.com/office/drawing/2014/main" id="{175B1E3A-63A5-4651-A10E-2A943EC8D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324" y="1598004"/>
            <a:ext cx="6515627" cy="5088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4430429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68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메타버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메인화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(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앱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스토리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웹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grpSp>
        <p:nvGrpSpPr>
          <p:cNvPr id="9" name="그룹 8">
            <a:extLst>
              <a:ext uri="{FF2B5EF4-FFF2-40B4-BE49-F238E27FC236}">
                <a16:creationId xmlns:a16="http://schemas.microsoft.com/office/drawing/2014/main" id="{557DB0F5-AB15-426A-8AB2-8D6A31F0BFE3}"/>
              </a:ext>
            </a:extLst>
          </p:cNvPr>
          <p:cNvGrpSpPr/>
          <p:nvPr/>
        </p:nvGrpSpPr>
        <p:grpSpPr>
          <a:xfrm>
            <a:off x="5004048" y="5445224"/>
            <a:ext cx="1728192" cy="1241246"/>
            <a:chOff x="4572000" y="4797152"/>
            <a:chExt cx="1944216" cy="2033334"/>
          </a:xfrm>
        </p:grpSpPr>
        <p:sp>
          <p:nvSpPr>
            <p:cNvPr id="2" name="타원 1">
              <a:extLst>
                <a:ext uri="{FF2B5EF4-FFF2-40B4-BE49-F238E27FC236}">
                  <a16:creationId xmlns:a16="http://schemas.microsoft.com/office/drawing/2014/main" id="{A7CCD5EB-ADAB-41BE-91BF-3E4B055B299E}"/>
                </a:ext>
              </a:extLst>
            </p:cNvPr>
            <p:cNvSpPr/>
            <p:nvPr/>
          </p:nvSpPr>
          <p:spPr>
            <a:xfrm>
              <a:off x="4572000" y="4797152"/>
              <a:ext cx="1944216" cy="2033334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" name="이등변 삼각형 3">
              <a:extLst>
                <a:ext uri="{FF2B5EF4-FFF2-40B4-BE49-F238E27FC236}">
                  <a16:creationId xmlns:a16="http://schemas.microsoft.com/office/drawing/2014/main" id="{5B72A27B-EFA1-42E2-AE6A-D6534F7C5DB2}"/>
                </a:ext>
              </a:extLst>
            </p:cNvPr>
            <p:cNvSpPr/>
            <p:nvPr/>
          </p:nvSpPr>
          <p:spPr>
            <a:xfrm>
              <a:off x="5145487" y="4812784"/>
              <a:ext cx="864096" cy="632440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8" name="이등변 삼각형 17">
              <a:extLst>
                <a:ext uri="{FF2B5EF4-FFF2-40B4-BE49-F238E27FC236}">
                  <a16:creationId xmlns:a16="http://schemas.microsoft.com/office/drawing/2014/main" id="{5E5FE4CA-6F2C-424C-947C-B77EB91DB7DB}"/>
                </a:ext>
              </a:extLst>
            </p:cNvPr>
            <p:cNvSpPr/>
            <p:nvPr/>
          </p:nvSpPr>
          <p:spPr>
            <a:xfrm rot="16200000">
              <a:off x="4448502" y="5604322"/>
              <a:ext cx="851729" cy="533532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이등변 삼각형 18">
              <a:extLst>
                <a:ext uri="{FF2B5EF4-FFF2-40B4-BE49-F238E27FC236}">
                  <a16:creationId xmlns:a16="http://schemas.microsoft.com/office/drawing/2014/main" id="{24F8C723-694C-464E-AADB-E7F3E4AA33C6}"/>
                </a:ext>
              </a:extLst>
            </p:cNvPr>
            <p:cNvSpPr/>
            <p:nvPr/>
          </p:nvSpPr>
          <p:spPr>
            <a:xfrm rot="5400000">
              <a:off x="5823585" y="5604322"/>
              <a:ext cx="851729" cy="533532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25" name="이등변 삼각형 24">
              <a:extLst>
                <a:ext uri="{FF2B5EF4-FFF2-40B4-BE49-F238E27FC236}">
                  <a16:creationId xmlns:a16="http://schemas.microsoft.com/office/drawing/2014/main" id="{82D45A88-F65B-4A1A-9D3E-18C8579BB894}"/>
                </a:ext>
              </a:extLst>
            </p:cNvPr>
            <p:cNvSpPr/>
            <p:nvPr/>
          </p:nvSpPr>
          <p:spPr>
            <a:xfrm rot="10800000">
              <a:off x="5126598" y="6296953"/>
              <a:ext cx="851729" cy="533532"/>
            </a:xfrm>
            <a:prstGeom prst="triangl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0062386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시간이 돼서 넘어가거나 사용자가 넘기거나 둘 중 하나의 방식을 택할 수 있다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.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sp>
        <p:nvSpPr>
          <p:cNvPr id="6" name="직사각형 5">
            <a:extLst>
              <a:ext uri="{FF2B5EF4-FFF2-40B4-BE49-F238E27FC236}">
                <a16:creationId xmlns:a16="http://schemas.microsoft.com/office/drawing/2014/main" id="{A479173F-3C36-4BCE-85F9-357685F35964}"/>
              </a:ext>
            </a:extLst>
          </p:cNvPr>
          <p:cNvSpPr/>
          <p:nvPr/>
        </p:nvSpPr>
        <p:spPr>
          <a:xfrm>
            <a:off x="225324" y="1598004"/>
            <a:ext cx="6515627" cy="5088466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876E8F69-EED8-43F6-BBB1-42BE105AC65E}"/>
              </a:ext>
            </a:extLst>
          </p:cNvPr>
          <p:cNvSpPr/>
          <p:nvPr/>
        </p:nvSpPr>
        <p:spPr>
          <a:xfrm>
            <a:off x="1835696" y="2400229"/>
            <a:ext cx="3312368" cy="3909091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27F4BA-82D2-4DD2-8146-1CC77B27BB69}"/>
              </a:ext>
            </a:extLst>
          </p:cNvPr>
          <p:cNvSpPr txBox="1"/>
          <p:nvPr/>
        </p:nvSpPr>
        <p:spPr>
          <a:xfrm>
            <a:off x="2159732" y="3816165"/>
            <a:ext cx="266429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6400" dirty="0">
                <a:solidFill>
                  <a:schemeClr val="bg1"/>
                </a:solidFill>
                <a:latin typeface="+mn-ea"/>
                <a:ea typeface="+mn-ea"/>
              </a:rPr>
              <a:t>이미지</a:t>
            </a:r>
          </a:p>
        </p:txBody>
      </p:sp>
      <p:cxnSp>
        <p:nvCxnSpPr>
          <p:cNvPr id="15" name="직선 연결선 14">
            <a:extLst>
              <a:ext uri="{FF2B5EF4-FFF2-40B4-BE49-F238E27FC236}">
                <a16:creationId xmlns:a16="http://schemas.microsoft.com/office/drawing/2014/main" id="{F625FD2F-676E-4862-A571-4C573B6D3A6B}"/>
              </a:ext>
            </a:extLst>
          </p:cNvPr>
          <p:cNvCxnSpPr/>
          <p:nvPr/>
        </p:nvCxnSpPr>
        <p:spPr>
          <a:xfrm>
            <a:off x="2627784" y="1797338"/>
            <a:ext cx="0" cy="22574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직선 연결선 21">
            <a:extLst>
              <a:ext uri="{FF2B5EF4-FFF2-40B4-BE49-F238E27FC236}">
                <a16:creationId xmlns:a16="http://schemas.microsoft.com/office/drawing/2014/main" id="{449DE60C-857E-4867-9E8D-E504E84B8FA4}"/>
              </a:ext>
            </a:extLst>
          </p:cNvPr>
          <p:cNvCxnSpPr/>
          <p:nvPr/>
        </p:nvCxnSpPr>
        <p:spPr>
          <a:xfrm>
            <a:off x="4283968" y="1797338"/>
            <a:ext cx="0" cy="22574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이등변 삼각형 10">
            <a:extLst>
              <a:ext uri="{FF2B5EF4-FFF2-40B4-BE49-F238E27FC236}">
                <a16:creationId xmlns:a16="http://schemas.microsoft.com/office/drawing/2014/main" id="{F0839AC1-755B-4A37-AFA9-5BFB4012A0EE}"/>
              </a:ext>
            </a:extLst>
          </p:cNvPr>
          <p:cNvSpPr/>
          <p:nvPr/>
        </p:nvSpPr>
        <p:spPr>
          <a:xfrm rot="16200000">
            <a:off x="329517" y="3589332"/>
            <a:ext cx="1080120" cy="1080120"/>
          </a:xfrm>
          <a:prstGeom prst="triangle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20" name="이등변 삼각형 19">
            <a:extLst>
              <a:ext uri="{FF2B5EF4-FFF2-40B4-BE49-F238E27FC236}">
                <a16:creationId xmlns:a16="http://schemas.microsoft.com/office/drawing/2014/main" id="{0FD5F055-8A40-4AA5-B51B-A6D8EE69D80E}"/>
              </a:ext>
            </a:extLst>
          </p:cNvPr>
          <p:cNvSpPr/>
          <p:nvPr/>
        </p:nvSpPr>
        <p:spPr>
          <a:xfrm rot="5400000">
            <a:off x="5574123" y="3697229"/>
            <a:ext cx="1080120" cy="1080120"/>
          </a:xfrm>
          <a:prstGeom prst="triangle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BBDDC9C3-332F-4F0D-A4C7-69D24F0CC5D5}"/>
              </a:ext>
            </a:extLst>
          </p:cNvPr>
          <p:cNvSpPr/>
          <p:nvPr/>
        </p:nvSpPr>
        <p:spPr>
          <a:xfrm>
            <a:off x="1412032" y="1925216"/>
            <a:ext cx="4536504" cy="25026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D09E7FB0-A53E-4C02-92AB-1C4DA747AF0F}"/>
              </a:ext>
            </a:extLst>
          </p:cNvPr>
          <p:cNvCxnSpPr/>
          <p:nvPr/>
        </p:nvCxnSpPr>
        <p:spPr>
          <a:xfrm>
            <a:off x="2780184" y="1949738"/>
            <a:ext cx="0" cy="22574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A3983B59-3F7E-42D0-871F-F2B7FEA165BE}"/>
              </a:ext>
            </a:extLst>
          </p:cNvPr>
          <p:cNvCxnSpPr/>
          <p:nvPr/>
        </p:nvCxnSpPr>
        <p:spPr>
          <a:xfrm>
            <a:off x="4436368" y="1949738"/>
            <a:ext cx="0" cy="22574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55968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표 14">
            <a:extLst>
              <a:ext uri="{FF2B5EF4-FFF2-40B4-BE49-F238E27FC236}">
                <a16:creationId xmlns:a16="http://schemas.microsoft.com/office/drawing/2014/main" id="{8A9C8D74-05B1-47E7-8F55-EB3C55C832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0781471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학사일정 화면으로 이동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8985285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02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학사일정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커뮤니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F7FDD081-9522-4ECC-976A-293F5241A519}"/>
              </a:ext>
            </a:extLst>
          </p:cNvPr>
          <p:cNvSpPr/>
          <p:nvPr/>
        </p:nvSpPr>
        <p:spPr>
          <a:xfrm>
            <a:off x="683568" y="1772816"/>
            <a:ext cx="5688632" cy="446449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2E876B55-2240-493D-9574-A20E673029D8}"/>
              </a:ext>
            </a:extLst>
          </p:cNvPr>
          <p:cNvSpPr/>
          <p:nvPr/>
        </p:nvSpPr>
        <p:spPr>
          <a:xfrm>
            <a:off x="683568" y="1772816"/>
            <a:ext cx="5688632" cy="496765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FABAE989-3245-4206-BBDD-83D95E1E8844}"/>
              </a:ext>
            </a:extLst>
          </p:cNvPr>
          <p:cNvSpPr/>
          <p:nvPr/>
        </p:nvSpPr>
        <p:spPr>
          <a:xfrm>
            <a:off x="1814501" y="1645207"/>
            <a:ext cx="1072055" cy="72008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08251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표 14">
            <a:extLst>
              <a:ext uri="{FF2B5EF4-FFF2-40B4-BE49-F238E27FC236}">
                <a16:creationId xmlns:a16="http://schemas.microsoft.com/office/drawing/2014/main" id="{8A9C8D74-05B1-47E7-8F55-EB3C55C832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8618727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로그인 화면으로 이동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324475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03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메뉴바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로그인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F7FDD081-9522-4ECC-976A-293F5241A519}"/>
              </a:ext>
            </a:extLst>
          </p:cNvPr>
          <p:cNvSpPr/>
          <p:nvPr/>
        </p:nvSpPr>
        <p:spPr>
          <a:xfrm>
            <a:off x="683568" y="1772816"/>
            <a:ext cx="5688632" cy="446449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2E876B55-2240-493D-9574-A20E673029D8}"/>
              </a:ext>
            </a:extLst>
          </p:cNvPr>
          <p:cNvSpPr/>
          <p:nvPr/>
        </p:nvSpPr>
        <p:spPr>
          <a:xfrm>
            <a:off x="683568" y="1772816"/>
            <a:ext cx="5688632" cy="496765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FABAE989-3245-4206-BBDD-83D95E1E8844}"/>
              </a:ext>
            </a:extLst>
          </p:cNvPr>
          <p:cNvSpPr/>
          <p:nvPr/>
        </p:nvSpPr>
        <p:spPr>
          <a:xfrm>
            <a:off x="3671102" y="1677065"/>
            <a:ext cx="1072055" cy="72008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22136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표 14">
            <a:extLst>
              <a:ext uri="{FF2B5EF4-FFF2-40B4-BE49-F238E27FC236}">
                <a16:creationId xmlns:a16="http://schemas.microsoft.com/office/drawing/2014/main" id="{8A9C8D74-05B1-47E7-8F55-EB3C55C832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6916533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급식 화면으로 이동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944148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04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메뉴바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급식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F7FDD081-9522-4ECC-976A-293F5241A519}"/>
              </a:ext>
            </a:extLst>
          </p:cNvPr>
          <p:cNvSpPr/>
          <p:nvPr/>
        </p:nvSpPr>
        <p:spPr>
          <a:xfrm>
            <a:off x="683568" y="1772816"/>
            <a:ext cx="5688632" cy="446449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2E876B55-2240-493D-9574-A20E673029D8}"/>
              </a:ext>
            </a:extLst>
          </p:cNvPr>
          <p:cNvSpPr/>
          <p:nvPr/>
        </p:nvSpPr>
        <p:spPr>
          <a:xfrm>
            <a:off x="683568" y="1772816"/>
            <a:ext cx="5688632" cy="496765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FABAE989-3245-4206-BBDD-83D95E1E8844}"/>
              </a:ext>
            </a:extLst>
          </p:cNvPr>
          <p:cNvSpPr/>
          <p:nvPr/>
        </p:nvSpPr>
        <p:spPr>
          <a:xfrm>
            <a:off x="2828202" y="1645207"/>
            <a:ext cx="977695" cy="720080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0530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6602832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아이디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비밀번호 입력 칸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1830982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05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로그인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/PW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입력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6873C4C-FBE9-4D2D-A1C2-90712B9E8174}"/>
              </a:ext>
            </a:extLst>
          </p:cNvPr>
          <p:cNvSpPr txBox="1"/>
          <p:nvPr/>
        </p:nvSpPr>
        <p:spPr>
          <a:xfrm>
            <a:off x="2720351" y="1677065"/>
            <a:ext cx="18213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800" dirty="0">
                <a:latin typeface="+mn-ea"/>
              </a:rPr>
              <a:t>Login</a:t>
            </a:r>
            <a:endParaRPr lang="ko-KR" altLang="en-US" sz="4800" dirty="0">
              <a:latin typeface="+mn-ea"/>
              <a:ea typeface="+mn-ea"/>
            </a:endParaRP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B0BF426C-9A5A-4FEB-AC37-48A3C12E36A4}"/>
              </a:ext>
            </a:extLst>
          </p:cNvPr>
          <p:cNvGrpSpPr/>
          <p:nvPr/>
        </p:nvGrpSpPr>
        <p:grpSpPr>
          <a:xfrm>
            <a:off x="1979712" y="2564904"/>
            <a:ext cx="3240360" cy="504056"/>
            <a:chOff x="1979712" y="2564904"/>
            <a:chExt cx="3240360" cy="504056"/>
          </a:xfrm>
        </p:grpSpPr>
        <p:sp>
          <p:nvSpPr>
            <p:cNvPr id="4" name="직사각형 3">
              <a:extLst>
                <a:ext uri="{FF2B5EF4-FFF2-40B4-BE49-F238E27FC236}">
                  <a16:creationId xmlns:a16="http://schemas.microsoft.com/office/drawing/2014/main" id="{4717471F-53FF-4807-A972-2B39574D91AF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F293393-B89B-419A-B68F-9958BDE326C9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</a:rPr>
                <a:t>아이디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6B0317F3-3107-4168-B430-205D790977DD}"/>
              </a:ext>
            </a:extLst>
          </p:cNvPr>
          <p:cNvGrpSpPr/>
          <p:nvPr/>
        </p:nvGrpSpPr>
        <p:grpSpPr>
          <a:xfrm>
            <a:off x="1979712" y="3358990"/>
            <a:ext cx="3240360" cy="504056"/>
            <a:chOff x="1979712" y="2564904"/>
            <a:chExt cx="3240360" cy="504056"/>
          </a:xfrm>
        </p:grpSpPr>
        <p:sp>
          <p:nvSpPr>
            <p:cNvPr id="17" name="직사각형 16">
              <a:extLst>
                <a:ext uri="{FF2B5EF4-FFF2-40B4-BE49-F238E27FC236}">
                  <a16:creationId xmlns:a16="http://schemas.microsoft.com/office/drawing/2014/main" id="{A07EE09C-42E2-4B06-AC2B-9A43A6AE20FA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8178C28-A220-4CFE-9BB6-1BAEC584B928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</a:t>
              </a:r>
            </a:p>
          </p:txBody>
        </p:sp>
      </p:grp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BA1FC085-7616-47D5-AFD9-013CFB394BBA}"/>
              </a:ext>
            </a:extLst>
          </p:cNvPr>
          <p:cNvGrpSpPr/>
          <p:nvPr/>
        </p:nvGrpSpPr>
        <p:grpSpPr>
          <a:xfrm>
            <a:off x="1984031" y="4092417"/>
            <a:ext cx="1363833" cy="504056"/>
            <a:chOff x="1979712" y="2564904"/>
            <a:chExt cx="3240360" cy="504056"/>
          </a:xfrm>
        </p:grpSpPr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F7CA9AC5-EF5C-461C-BAE3-E61AAD603B4F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00A389B-9366-44EE-9A0F-5B9561E7996E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</a:rPr>
                <a:t>로그인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733AC99F-FA0A-4ACF-8A3E-9E914AF6DB21}"/>
              </a:ext>
            </a:extLst>
          </p:cNvPr>
          <p:cNvGrpSpPr/>
          <p:nvPr/>
        </p:nvGrpSpPr>
        <p:grpSpPr>
          <a:xfrm>
            <a:off x="3859829" y="4092417"/>
            <a:ext cx="1363833" cy="504056"/>
            <a:chOff x="1979712" y="2564904"/>
            <a:chExt cx="3240360" cy="504056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5071E5DB-F927-4423-9E50-C328CE3CBA3E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DE362873-56F0-454C-8517-D40447B480BC}"/>
                </a:ext>
              </a:extLst>
            </p:cNvPr>
            <p:cNvSpPr txBox="1"/>
            <p:nvPr/>
          </p:nvSpPr>
          <p:spPr>
            <a:xfrm>
              <a:off x="2088945" y="2651578"/>
              <a:ext cx="27665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>
                  <a:latin typeface="+mn-ea"/>
                  <a:ea typeface="+mn-ea"/>
                </a:rPr>
                <a:t>회원가입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1D7BD9CA-3EAA-44A6-8B06-E92EECD65B41}"/>
              </a:ext>
            </a:extLst>
          </p:cNvPr>
          <p:cNvSpPr txBox="1"/>
          <p:nvPr/>
        </p:nvSpPr>
        <p:spPr>
          <a:xfrm>
            <a:off x="1835696" y="5013176"/>
            <a:ext cx="3672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u="sng" dirty="0">
                <a:latin typeface="+mn-ea"/>
                <a:ea typeface="+mn-ea"/>
              </a:rPr>
              <a:t>아이디</a:t>
            </a:r>
            <a:r>
              <a:rPr lang="en-US" altLang="ko-KR" u="sng" dirty="0">
                <a:latin typeface="+mn-ea"/>
              </a:rPr>
              <a:t>/</a:t>
            </a:r>
            <a:r>
              <a:rPr lang="ko-KR" altLang="en-US" u="sng" dirty="0">
                <a:latin typeface="+mn-ea"/>
              </a:rPr>
              <a:t>비밀번호를 잊어버리셨나요</a:t>
            </a:r>
            <a:r>
              <a:rPr lang="en-US" altLang="ko-KR" u="sng" dirty="0">
                <a:latin typeface="+mn-ea"/>
              </a:rPr>
              <a:t>?</a:t>
            </a:r>
            <a:endParaRPr lang="ko-KR" altLang="en-US" u="sng" dirty="0">
              <a:latin typeface="+mn-ea"/>
              <a:ea typeface="+mn-ea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46654728-EAC7-479B-9650-EEA6B31DD79A}"/>
              </a:ext>
            </a:extLst>
          </p:cNvPr>
          <p:cNvSpPr/>
          <p:nvPr/>
        </p:nvSpPr>
        <p:spPr>
          <a:xfrm>
            <a:off x="1827893" y="2480275"/>
            <a:ext cx="3543998" cy="1451782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7367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6481405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아이디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비밀번호 입력 후 로그인 버튼을 누를 시 아이디 비밀번호를 체크한 뒤 일치하면 로그인</a:t>
                      </a: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1032956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06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로그인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로그인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6873C4C-FBE9-4D2D-A1C2-90712B9E8174}"/>
              </a:ext>
            </a:extLst>
          </p:cNvPr>
          <p:cNvSpPr txBox="1"/>
          <p:nvPr/>
        </p:nvSpPr>
        <p:spPr>
          <a:xfrm>
            <a:off x="2720351" y="1677065"/>
            <a:ext cx="18213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800" dirty="0">
                <a:latin typeface="+mn-ea"/>
              </a:rPr>
              <a:t>Login</a:t>
            </a:r>
            <a:endParaRPr lang="ko-KR" altLang="en-US" sz="4800" dirty="0">
              <a:latin typeface="+mn-ea"/>
              <a:ea typeface="+mn-ea"/>
            </a:endParaRP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B0BF426C-9A5A-4FEB-AC37-48A3C12E36A4}"/>
              </a:ext>
            </a:extLst>
          </p:cNvPr>
          <p:cNvGrpSpPr/>
          <p:nvPr/>
        </p:nvGrpSpPr>
        <p:grpSpPr>
          <a:xfrm>
            <a:off x="1979712" y="2564904"/>
            <a:ext cx="3240360" cy="504056"/>
            <a:chOff x="1979712" y="2564904"/>
            <a:chExt cx="3240360" cy="504056"/>
          </a:xfrm>
        </p:grpSpPr>
        <p:sp>
          <p:nvSpPr>
            <p:cNvPr id="4" name="직사각형 3">
              <a:extLst>
                <a:ext uri="{FF2B5EF4-FFF2-40B4-BE49-F238E27FC236}">
                  <a16:creationId xmlns:a16="http://schemas.microsoft.com/office/drawing/2014/main" id="{4717471F-53FF-4807-A972-2B39574D91AF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F293393-B89B-419A-B68F-9958BDE326C9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</a:rPr>
                <a:t>아이디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6B0317F3-3107-4168-B430-205D790977DD}"/>
              </a:ext>
            </a:extLst>
          </p:cNvPr>
          <p:cNvGrpSpPr/>
          <p:nvPr/>
        </p:nvGrpSpPr>
        <p:grpSpPr>
          <a:xfrm>
            <a:off x="1979712" y="3358990"/>
            <a:ext cx="3240360" cy="504056"/>
            <a:chOff x="1979712" y="2564904"/>
            <a:chExt cx="3240360" cy="504056"/>
          </a:xfrm>
        </p:grpSpPr>
        <p:sp>
          <p:nvSpPr>
            <p:cNvPr id="17" name="직사각형 16">
              <a:extLst>
                <a:ext uri="{FF2B5EF4-FFF2-40B4-BE49-F238E27FC236}">
                  <a16:creationId xmlns:a16="http://schemas.microsoft.com/office/drawing/2014/main" id="{A07EE09C-42E2-4B06-AC2B-9A43A6AE20FA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8178C28-A220-4CFE-9BB6-1BAEC584B928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</a:t>
              </a:r>
            </a:p>
          </p:txBody>
        </p:sp>
      </p:grp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BA1FC085-7616-47D5-AFD9-013CFB394BBA}"/>
              </a:ext>
            </a:extLst>
          </p:cNvPr>
          <p:cNvGrpSpPr/>
          <p:nvPr/>
        </p:nvGrpSpPr>
        <p:grpSpPr>
          <a:xfrm>
            <a:off x="1984031" y="4092417"/>
            <a:ext cx="1363833" cy="504056"/>
            <a:chOff x="1979712" y="2564904"/>
            <a:chExt cx="3240360" cy="504056"/>
          </a:xfrm>
        </p:grpSpPr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F7CA9AC5-EF5C-461C-BAE3-E61AAD603B4F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00A389B-9366-44EE-9A0F-5B9561E7996E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</a:rPr>
                <a:t>로그인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733AC99F-FA0A-4ACF-8A3E-9E914AF6DB21}"/>
              </a:ext>
            </a:extLst>
          </p:cNvPr>
          <p:cNvGrpSpPr/>
          <p:nvPr/>
        </p:nvGrpSpPr>
        <p:grpSpPr>
          <a:xfrm>
            <a:off x="3859829" y="4092417"/>
            <a:ext cx="1363833" cy="504056"/>
            <a:chOff x="1979712" y="2564904"/>
            <a:chExt cx="3240360" cy="504056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5071E5DB-F927-4423-9E50-C328CE3CBA3E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DE362873-56F0-454C-8517-D40447B480BC}"/>
                </a:ext>
              </a:extLst>
            </p:cNvPr>
            <p:cNvSpPr txBox="1"/>
            <p:nvPr/>
          </p:nvSpPr>
          <p:spPr>
            <a:xfrm>
              <a:off x="2088945" y="2651578"/>
              <a:ext cx="27665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>
                  <a:latin typeface="+mn-ea"/>
                  <a:ea typeface="+mn-ea"/>
                </a:rPr>
                <a:t>회원가입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1D7BD9CA-3EAA-44A6-8B06-E92EECD65B41}"/>
              </a:ext>
            </a:extLst>
          </p:cNvPr>
          <p:cNvSpPr txBox="1"/>
          <p:nvPr/>
        </p:nvSpPr>
        <p:spPr>
          <a:xfrm>
            <a:off x="1835696" y="5013176"/>
            <a:ext cx="3672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u="sng" dirty="0">
                <a:latin typeface="+mn-ea"/>
                <a:ea typeface="+mn-ea"/>
              </a:rPr>
              <a:t>아이디</a:t>
            </a:r>
            <a:r>
              <a:rPr lang="en-US" altLang="ko-KR" u="sng" dirty="0">
                <a:latin typeface="+mn-ea"/>
              </a:rPr>
              <a:t>/</a:t>
            </a:r>
            <a:r>
              <a:rPr lang="ko-KR" altLang="en-US" u="sng" dirty="0">
                <a:latin typeface="+mn-ea"/>
              </a:rPr>
              <a:t>비밀번호를 잊어버리셨나요</a:t>
            </a:r>
            <a:r>
              <a:rPr lang="en-US" altLang="ko-KR" u="sng" dirty="0">
                <a:latin typeface="+mn-ea"/>
              </a:rPr>
              <a:t>?</a:t>
            </a:r>
            <a:endParaRPr lang="ko-KR" altLang="en-US" u="sng" dirty="0">
              <a:latin typeface="+mn-ea"/>
              <a:ea typeface="+mn-ea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46654728-EAC7-479B-9650-EEA6B31DD79A}"/>
              </a:ext>
            </a:extLst>
          </p:cNvPr>
          <p:cNvSpPr/>
          <p:nvPr/>
        </p:nvSpPr>
        <p:spPr>
          <a:xfrm flipV="1">
            <a:off x="1827893" y="3932056"/>
            <a:ext cx="1663987" cy="86509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0017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표 15">
            <a:extLst>
              <a:ext uri="{FF2B5EF4-FFF2-40B4-BE49-F238E27FC236}">
                <a16:creationId xmlns:a16="http://schemas.microsoft.com/office/drawing/2014/main" id="{EC5E0ED2-1708-4047-B354-6462715782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4562671"/>
              </p:ext>
            </p:extLst>
          </p:nvPr>
        </p:nvGraphicFramePr>
        <p:xfrm>
          <a:off x="225324" y="1533049"/>
          <a:ext cx="8748000" cy="5192687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303812683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4029087309"/>
                    </a:ext>
                  </a:extLst>
                </a:gridCol>
              </a:tblGrid>
              <a:tr h="51926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1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회원가입 화면으로 이동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83077" marR="83077" marT="46800" marB="46800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03159"/>
                  </a:ext>
                </a:extLst>
              </a:tr>
            </a:tbl>
          </a:graphicData>
        </a:graphic>
      </p:graphicFrame>
      <p:graphicFrame>
        <p:nvGraphicFramePr>
          <p:cNvPr id="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2707225"/>
              </p:ext>
            </p:extLst>
          </p:nvPr>
        </p:nvGraphicFramePr>
        <p:xfrm>
          <a:off x="211170" y="290331"/>
          <a:ext cx="8742812" cy="834413"/>
        </p:xfrm>
        <a:graphic>
          <a:graphicData uri="http://schemas.openxmlformats.org/drawingml/2006/table">
            <a:tbl>
              <a:tblPr/>
              <a:tblGrid>
                <a:gridCol w="1205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5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6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8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요구사항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welbato-007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작성자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현우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69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명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로그인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수정일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22.00.00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ID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회원가입</a:t>
                      </a: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초수정일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/>
                        <a:t>2022.00.00</a:t>
                      </a:r>
                      <a:endParaRPr lang="ko-KR" altLang="en-US" sz="1000" dirty="0"/>
                    </a:p>
                  </a:txBody>
                  <a:tcPr marT="45760" marB="4576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968554" y="26732"/>
            <a:ext cx="1996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900" b="1" dirty="0">
                <a:latin typeface="+mn-ea"/>
              </a:rPr>
              <a:t>기본실행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플레이선택 </a:t>
            </a:r>
            <a:r>
              <a:rPr lang="en-US" altLang="ko-KR" sz="900" b="1" baseline="0" dirty="0">
                <a:latin typeface="+mn-ea"/>
                <a:ea typeface="+mn-ea"/>
              </a:rPr>
              <a:t>&gt; </a:t>
            </a:r>
            <a:r>
              <a:rPr lang="ko-KR" altLang="en-US" sz="900" b="1" baseline="0" dirty="0">
                <a:latin typeface="+mn-ea"/>
                <a:ea typeface="+mn-ea"/>
              </a:rPr>
              <a:t>단면 플레이</a:t>
            </a:r>
            <a:endParaRPr lang="en-US" altLang="ko-KR" sz="900" b="1" baseline="0" dirty="0">
              <a:latin typeface="+mn-ea"/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27990-009C-4A3F-B494-4230CCA3288F}"/>
              </a:ext>
            </a:extLst>
          </p:cNvPr>
          <p:cNvSpPr txBox="1"/>
          <p:nvPr/>
        </p:nvSpPr>
        <p:spPr>
          <a:xfrm>
            <a:off x="683568" y="182341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커뮤니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C87CAF-251A-4092-BD2D-B06BE0CAC1B7}"/>
              </a:ext>
            </a:extLst>
          </p:cNvPr>
          <p:cNvSpPr txBox="1"/>
          <p:nvPr/>
        </p:nvSpPr>
        <p:spPr>
          <a:xfrm>
            <a:off x="1814501" y="1836532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학사일정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4EA65D0-71D9-41C7-96EB-3FB7B716689D}"/>
              </a:ext>
            </a:extLst>
          </p:cNvPr>
          <p:cNvSpPr txBox="1"/>
          <p:nvPr/>
        </p:nvSpPr>
        <p:spPr>
          <a:xfrm>
            <a:off x="2998205" y="1820581"/>
            <a:ext cx="63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>
                <a:solidFill>
                  <a:schemeClr val="bg1"/>
                </a:solidFill>
                <a:latin typeface="+mn-ea"/>
                <a:ea typeface="+mn-ea"/>
              </a:rPr>
              <a:t>급식</a:t>
            </a:r>
            <a:endParaRPr lang="ko-KR" altLang="en-US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8F9018-6D5E-4631-9E96-8C7CE5A4F219}"/>
              </a:ext>
            </a:extLst>
          </p:cNvPr>
          <p:cNvSpPr txBox="1"/>
          <p:nvPr/>
        </p:nvSpPr>
        <p:spPr>
          <a:xfrm>
            <a:off x="3758717" y="182415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solidFill>
                  <a:schemeClr val="bg1"/>
                </a:solidFill>
                <a:latin typeface="+mn-ea"/>
                <a:ea typeface="+mn-ea"/>
              </a:rPr>
              <a:t>로그인</a:t>
            </a:r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C759530A-C101-42A4-878F-3A489B24F3BB}"/>
              </a:ext>
            </a:extLst>
          </p:cNvPr>
          <p:cNvGraphicFramePr>
            <a:graphicFrameLocks noGrp="1"/>
          </p:cNvGraphicFramePr>
          <p:nvPr/>
        </p:nvGraphicFramePr>
        <p:xfrm>
          <a:off x="216613" y="1268760"/>
          <a:ext cx="8748000" cy="264289"/>
        </p:xfrm>
        <a:graphic>
          <a:graphicData uri="http://schemas.openxmlformats.org/drawingml/2006/table">
            <a:tbl>
              <a:tblPr/>
              <a:tblGrid>
                <a:gridCol w="6520364">
                  <a:extLst>
                    <a:ext uri="{9D8B030D-6E8A-4147-A177-3AD203B41FA5}">
                      <a16:colId xmlns:a16="http://schemas.microsoft.com/office/drawing/2014/main" val="1839272414"/>
                    </a:ext>
                  </a:extLst>
                </a:gridCol>
                <a:gridCol w="2227636">
                  <a:extLst>
                    <a:ext uri="{9D8B030D-6E8A-4147-A177-3AD203B41FA5}">
                      <a16:colId xmlns:a16="http://schemas.microsoft.com/office/drawing/2014/main" val="2732780207"/>
                    </a:ext>
                  </a:extLst>
                </a:gridCol>
              </a:tblGrid>
              <a:tr h="2642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화면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UI)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정의 내용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</a:t>
                      </a:r>
                    </a:p>
                  </a:txBody>
                  <a:tcPr marL="83077" marR="83077" marT="46800" marB="468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6948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6873C4C-FBE9-4D2D-A1C2-90712B9E8174}"/>
              </a:ext>
            </a:extLst>
          </p:cNvPr>
          <p:cNvSpPr txBox="1"/>
          <p:nvPr/>
        </p:nvSpPr>
        <p:spPr>
          <a:xfrm>
            <a:off x="2720351" y="1677065"/>
            <a:ext cx="18213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800" dirty="0">
                <a:latin typeface="+mn-ea"/>
              </a:rPr>
              <a:t>Login</a:t>
            </a:r>
            <a:endParaRPr lang="ko-KR" altLang="en-US" sz="4800" dirty="0">
              <a:latin typeface="+mn-ea"/>
              <a:ea typeface="+mn-ea"/>
            </a:endParaRP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B0BF426C-9A5A-4FEB-AC37-48A3C12E36A4}"/>
              </a:ext>
            </a:extLst>
          </p:cNvPr>
          <p:cNvGrpSpPr/>
          <p:nvPr/>
        </p:nvGrpSpPr>
        <p:grpSpPr>
          <a:xfrm>
            <a:off x="1979712" y="2564904"/>
            <a:ext cx="3240360" cy="504056"/>
            <a:chOff x="1979712" y="2564904"/>
            <a:chExt cx="3240360" cy="504056"/>
          </a:xfrm>
        </p:grpSpPr>
        <p:sp>
          <p:nvSpPr>
            <p:cNvPr id="4" name="직사각형 3">
              <a:extLst>
                <a:ext uri="{FF2B5EF4-FFF2-40B4-BE49-F238E27FC236}">
                  <a16:creationId xmlns:a16="http://schemas.microsoft.com/office/drawing/2014/main" id="{4717471F-53FF-4807-A972-2B39574D91AF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F293393-B89B-419A-B68F-9958BDE326C9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</a:rPr>
                <a:t>아이디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6B0317F3-3107-4168-B430-205D790977DD}"/>
              </a:ext>
            </a:extLst>
          </p:cNvPr>
          <p:cNvGrpSpPr/>
          <p:nvPr/>
        </p:nvGrpSpPr>
        <p:grpSpPr>
          <a:xfrm>
            <a:off x="1979712" y="3358990"/>
            <a:ext cx="3240360" cy="504056"/>
            <a:chOff x="1979712" y="2564904"/>
            <a:chExt cx="3240360" cy="504056"/>
          </a:xfrm>
        </p:grpSpPr>
        <p:sp>
          <p:nvSpPr>
            <p:cNvPr id="17" name="직사각형 16">
              <a:extLst>
                <a:ext uri="{FF2B5EF4-FFF2-40B4-BE49-F238E27FC236}">
                  <a16:creationId xmlns:a16="http://schemas.microsoft.com/office/drawing/2014/main" id="{A07EE09C-42E2-4B06-AC2B-9A43A6AE20FA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8178C28-A220-4CFE-9BB6-1BAEC584B928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  <a:ea typeface="+mn-ea"/>
                </a:rPr>
                <a:t>비밀번호</a:t>
              </a:r>
            </a:p>
          </p:txBody>
        </p:sp>
      </p:grp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BA1FC085-7616-47D5-AFD9-013CFB394BBA}"/>
              </a:ext>
            </a:extLst>
          </p:cNvPr>
          <p:cNvGrpSpPr/>
          <p:nvPr/>
        </p:nvGrpSpPr>
        <p:grpSpPr>
          <a:xfrm>
            <a:off x="1984031" y="4092417"/>
            <a:ext cx="1363833" cy="504056"/>
            <a:chOff x="1979712" y="2564904"/>
            <a:chExt cx="3240360" cy="504056"/>
          </a:xfrm>
        </p:grpSpPr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F7CA9AC5-EF5C-461C-BAE3-E61AAD603B4F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00A389B-9366-44EE-9A0F-5B9561E7996E}"/>
                </a:ext>
              </a:extLst>
            </p:cNvPr>
            <p:cNvSpPr txBox="1"/>
            <p:nvPr/>
          </p:nvSpPr>
          <p:spPr>
            <a:xfrm>
              <a:off x="2088945" y="2651578"/>
              <a:ext cx="21904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latin typeface="+mn-ea"/>
                </a:rPr>
                <a:t>로그인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733AC99F-FA0A-4ACF-8A3E-9E914AF6DB21}"/>
              </a:ext>
            </a:extLst>
          </p:cNvPr>
          <p:cNvGrpSpPr/>
          <p:nvPr/>
        </p:nvGrpSpPr>
        <p:grpSpPr>
          <a:xfrm>
            <a:off x="3859829" y="4092417"/>
            <a:ext cx="1363833" cy="504056"/>
            <a:chOff x="1979712" y="2564904"/>
            <a:chExt cx="3240360" cy="504056"/>
          </a:xfrm>
        </p:grpSpPr>
        <p:sp>
          <p:nvSpPr>
            <p:cNvPr id="39" name="직사각형 38">
              <a:extLst>
                <a:ext uri="{FF2B5EF4-FFF2-40B4-BE49-F238E27FC236}">
                  <a16:creationId xmlns:a16="http://schemas.microsoft.com/office/drawing/2014/main" id="{5071E5DB-F927-4423-9E50-C328CE3CBA3E}"/>
                </a:ext>
              </a:extLst>
            </p:cNvPr>
            <p:cNvSpPr/>
            <p:nvPr/>
          </p:nvSpPr>
          <p:spPr>
            <a:xfrm>
              <a:off x="1979712" y="2564904"/>
              <a:ext cx="3240360" cy="504056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 latinLnBrk="0">
                <a:lnSpc>
                  <a:spcPct val="110000"/>
                </a:lnSpc>
                <a:spcBef>
                  <a:spcPts val="320"/>
                </a:spcBef>
              </a:pPr>
              <a:endParaRPr lang="ko-KR" alt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DE362873-56F0-454C-8517-D40447B480BC}"/>
                </a:ext>
              </a:extLst>
            </p:cNvPr>
            <p:cNvSpPr txBox="1"/>
            <p:nvPr/>
          </p:nvSpPr>
          <p:spPr>
            <a:xfrm>
              <a:off x="2088945" y="2651578"/>
              <a:ext cx="276659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>
                  <a:latin typeface="+mn-ea"/>
                  <a:ea typeface="+mn-ea"/>
                </a:rPr>
                <a:t>회원가입</a:t>
              </a:r>
              <a:endParaRPr lang="ko-KR" altLang="en-US" dirty="0">
                <a:latin typeface="+mn-ea"/>
                <a:ea typeface="+mn-ea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1D7BD9CA-3EAA-44A6-8B06-E92EECD65B41}"/>
              </a:ext>
            </a:extLst>
          </p:cNvPr>
          <p:cNvSpPr txBox="1"/>
          <p:nvPr/>
        </p:nvSpPr>
        <p:spPr>
          <a:xfrm>
            <a:off x="1835696" y="5013176"/>
            <a:ext cx="3672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u="sng" dirty="0">
                <a:latin typeface="+mn-ea"/>
                <a:ea typeface="+mn-ea"/>
              </a:rPr>
              <a:t>아이디</a:t>
            </a:r>
            <a:r>
              <a:rPr lang="en-US" altLang="ko-KR" u="sng" dirty="0">
                <a:latin typeface="+mn-ea"/>
              </a:rPr>
              <a:t>/</a:t>
            </a:r>
            <a:r>
              <a:rPr lang="ko-KR" altLang="en-US" u="sng" dirty="0">
                <a:latin typeface="+mn-ea"/>
              </a:rPr>
              <a:t>비밀번호를 잊어버리셨나요</a:t>
            </a:r>
            <a:r>
              <a:rPr lang="en-US" altLang="ko-KR" u="sng" dirty="0">
                <a:latin typeface="+mn-ea"/>
              </a:rPr>
              <a:t>?</a:t>
            </a:r>
            <a:endParaRPr lang="ko-KR" altLang="en-US" u="sng" dirty="0">
              <a:latin typeface="+mn-ea"/>
              <a:ea typeface="+mn-ea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46654728-EAC7-479B-9650-EEA6B31DD79A}"/>
              </a:ext>
            </a:extLst>
          </p:cNvPr>
          <p:cNvSpPr/>
          <p:nvPr/>
        </p:nvSpPr>
        <p:spPr>
          <a:xfrm flipV="1">
            <a:off x="3671900" y="3949720"/>
            <a:ext cx="1663987" cy="865095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latinLnBrk="0">
              <a:lnSpc>
                <a:spcPct val="110000"/>
              </a:lnSpc>
              <a:spcBef>
                <a:spcPts val="320"/>
              </a:spcBef>
            </a:pPr>
            <a:endParaRPr lang="ko-KR" altLang="en-US" sz="1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52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gBXdP4OUmFG9yMCxOW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gBXdP4OUmFG9yMCxOWTQ"/>
</p:tagLst>
</file>

<file path=ppt/theme/theme1.xml><?xml version="1.0" encoding="utf-8"?>
<a:theme xmlns:a="http://schemas.openxmlformats.org/drawingml/2006/main" name="PPT 기본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나눔고딕">
      <a:majorFont>
        <a:latin typeface="나눔고딕"/>
        <a:ea typeface="나눔고딕"/>
        <a:cs typeface=""/>
      </a:majorFont>
      <a:minorFont>
        <a:latin typeface="나눔고딕"/>
        <a:ea typeface="나눔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bg1">
              <a:lumMod val="50000"/>
            </a:schemeClr>
          </a:solidFill>
        </a:ln>
      </a:spPr>
      <a:bodyPr rtlCol="0" anchor="ctr" anchorCtr="0"/>
      <a:lstStyle>
        <a:defPPr algn="ctr" latinLnBrk="0">
          <a:lnSpc>
            <a:spcPct val="110000"/>
          </a:lnSpc>
          <a:spcBef>
            <a:spcPts val="320"/>
          </a:spcBef>
          <a:defRPr sz="1100" b="1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smtClean="0">
            <a:latin typeface="+mn-ea"/>
            <a:ea typeface="+mn-ea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18</TotalTime>
  <Words>1766</Words>
  <Application>Microsoft Office PowerPoint</Application>
  <PresentationFormat>화면 슬라이드 쇼(4:3)</PresentationFormat>
  <Paragraphs>1533</Paragraphs>
  <Slides>36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6</vt:i4>
      </vt:variant>
    </vt:vector>
  </HeadingPairs>
  <TitlesOfParts>
    <vt:vector size="44" baseType="lpstr">
      <vt:lpstr>굴림</vt:lpstr>
      <vt:lpstr>나눔고딕</vt:lpstr>
      <vt:lpstr>나눔고딕 ExtraBold</vt:lpstr>
      <vt:lpstr>맑은 고딕</vt:lpstr>
      <vt:lpstr>휴먼명조</vt:lpstr>
      <vt:lpstr>Wingdings</vt:lpstr>
      <vt:lpstr>PPT 기본</vt:lpstr>
      <vt:lpstr>think-cell Slide</vt:lpstr>
      <vt:lpstr>PowerPoint 프레젠테이션</vt:lpstr>
      <vt:lpstr>개정이력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Hewlett-Packa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업무흐름도</dc:title>
  <dc:creator>STA</dc:creator>
  <cp:lastModifiedBy>SW2145</cp:lastModifiedBy>
  <cp:revision>181</cp:revision>
  <cp:lastPrinted>2018-07-30T00:46:46Z</cp:lastPrinted>
  <dcterms:created xsi:type="dcterms:W3CDTF">2012-08-01T04:48:50Z</dcterms:created>
  <dcterms:modified xsi:type="dcterms:W3CDTF">2022-06-01T23:15:04Z</dcterms:modified>
</cp:coreProperties>
</file>